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6"/>
  </p:notesMasterIdLst>
  <p:sldIdLst>
    <p:sldId id="268" r:id="rId2"/>
    <p:sldId id="294" r:id="rId3"/>
    <p:sldId id="298" r:id="rId4"/>
    <p:sldId id="299" r:id="rId5"/>
  </p:sldIdLst>
  <p:sldSz cx="6858000" cy="51435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4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92" userDrawn="1">
          <p15:clr>
            <a:srgbClr val="A4A3A4"/>
          </p15:clr>
        </p15:guide>
        <p15:guide id="4" orient="horz" pos="3140" userDrawn="1">
          <p15:clr>
            <a:srgbClr val="A4A3A4"/>
          </p15:clr>
        </p15:guide>
        <p15:guide id="5" orient="horz" pos="804" userDrawn="1">
          <p15:clr>
            <a:srgbClr val="A4A3A4"/>
          </p15:clr>
        </p15:guide>
        <p15:guide id="6" orient="horz" pos="2935" userDrawn="1">
          <p15:clr>
            <a:srgbClr val="A4A3A4"/>
          </p15:clr>
        </p15:guide>
        <p15:guide id="7" pos="289" userDrawn="1">
          <p15:clr>
            <a:srgbClr val="A4A3A4"/>
          </p15:clr>
        </p15:guide>
        <p15:guide id="8" pos="41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F9F9F9"/>
    <a:srgbClr val="F4F3F0"/>
    <a:srgbClr val="E4E2D8"/>
    <a:srgbClr val="F8F8F6"/>
    <a:srgbClr val="EAE9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053" autoAdjust="0"/>
    <p:restoredTop sz="94384" autoAdjust="0"/>
  </p:normalViewPr>
  <p:slideViewPr>
    <p:cSldViewPr snapToGrid="0">
      <p:cViewPr varScale="1">
        <p:scale>
          <a:sx n="92" d="100"/>
          <a:sy n="92" d="100"/>
        </p:scale>
        <p:origin x="1098" y="78"/>
      </p:cViewPr>
      <p:guideLst>
        <p:guide orient="horz" pos="2164"/>
        <p:guide pos="2160"/>
        <p:guide orient="horz" pos="392"/>
        <p:guide orient="horz" pos="3140"/>
        <p:guide orient="horz" pos="804"/>
        <p:guide orient="horz" pos="2935"/>
        <p:guide pos="289"/>
        <p:guide pos="412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-5368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06636-F579-4046-A198-3DB88716DAA4}" type="datetimeFigureOut">
              <a:rPr lang="en-US" smtClean="0"/>
              <a:t>2/1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5C2F52-F63E-B749-93F1-E92F1C507B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21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C2F52-F63E-B749-93F1-E92F1C507BE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117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smtClean="0">
                <a:solidFill>
                  <a:srgbClr val="FF0000"/>
                </a:solidFill>
              </a:rPr>
              <a:t>The push for increased Data security and implementing Privacy by design principle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C2F52-F63E-B749-93F1-E92F1C507BE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60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CBDC67-D137-4B3F-B6D1-FA49BB3760B3}" type="slidenum">
              <a:rPr lang="nb-NO" smtClean="0">
                <a:solidFill>
                  <a:prstClr val="black"/>
                </a:solidFill>
              </a:rPr>
              <a:pPr/>
              <a:t>3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808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CBDC67-D137-4B3F-B6D1-FA49BB3760B3}" type="slidenum">
              <a:rPr lang="nb-NO" smtClean="0">
                <a:solidFill>
                  <a:prstClr val="black"/>
                </a:solidFill>
              </a:rPr>
              <a:pPr/>
              <a:t>4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302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Elhub_hvi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60" b="28802"/>
          <a:stretch>
            <a:fillRect/>
          </a:stretch>
        </p:blipFill>
        <p:spPr bwMode="auto">
          <a:xfrm>
            <a:off x="5869781" y="242889"/>
            <a:ext cx="666750" cy="28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5132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nip Single Corner Rectangle 12"/>
          <p:cNvSpPr/>
          <p:nvPr userDrawn="1"/>
        </p:nvSpPr>
        <p:spPr>
          <a:xfrm>
            <a:off x="244316" y="760095"/>
            <a:ext cx="6307694" cy="3966210"/>
          </a:xfrm>
          <a:prstGeom prst="snip1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pic>
        <p:nvPicPr>
          <p:cNvPr id="12" name="Picture 17" descr="Elhub_profilmønster_hvit_tynn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15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9" name="Picture 18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008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nip Single Corner Rectangle 12"/>
          <p:cNvSpPr/>
          <p:nvPr userDrawn="1"/>
        </p:nvSpPr>
        <p:spPr>
          <a:xfrm>
            <a:off x="244316" y="760095"/>
            <a:ext cx="6307694" cy="3966210"/>
          </a:xfrm>
          <a:prstGeom prst="snip1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pic>
        <p:nvPicPr>
          <p:cNvPr id="12" name="Picture 17" descr="Elhub_profilmønster_hvit_tynn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15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9" name="Picture 18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0447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/>
        </p:nvSpPr>
        <p:spPr>
          <a:xfrm>
            <a:off x="161925" y="909638"/>
            <a:ext cx="6534150" cy="42338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nb-NO" altLang="nb-NO" sz="1800" smtClean="0">
              <a:solidFill>
                <a:srgbClr val="FFFFFF"/>
              </a:solidFill>
            </a:endParaRPr>
          </a:p>
        </p:txBody>
      </p:sp>
      <p:pic>
        <p:nvPicPr>
          <p:cNvPr id="7" name="Picture 8" descr="Elhub_profilmønster_hvit_tyn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32"/>
          <a:stretch>
            <a:fillRect/>
          </a:stretch>
        </p:blipFill>
        <p:spPr bwMode="auto">
          <a:xfrm>
            <a:off x="-111918" y="4803232"/>
            <a:ext cx="6987008" cy="34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200151"/>
            <a:ext cx="302895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200151"/>
            <a:ext cx="302895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" y="4795663"/>
            <a:ext cx="1600200" cy="273844"/>
          </a:xfrm>
          <a:prstGeom prst="rect">
            <a:avLst/>
          </a:prstGeo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AB5222E-A7E2-4D97-A7EE-D3306DE3343A}" type="datetime1">
              <a:rPr lang="en-US" altLang="nb-NO">
                <a:solidFill>
                  <a:srgbClr val="D5D2C3"/>
                </a:solidFill>
              </a:rPr>
              <a:pPr>
                <a:defRPr/>
              </a:pPr>
              <a:t>2/19/2016</a:t>
            </a:fld>
            <a:endParaRPr lang="en-US" altLang="nb-NO">
              <a:solidFill>
                <a:srgbClr val="D5D2C3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43150" y="4795663"/>
            <a:ext cx="2171700" cy="273844"/>
          </a:xfrm>
          <a:prstGeom prst="rect">
            <a:avLst/>
          </a:prstGeo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nb-NO" altLang="nb-NO">
              <a:solidFill>
                <a:srgbClr val="D5D2C3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14900" y="4795663"/>
            <a:ext cx="1600200" cy="273844"/>
          </a:xfrm>
          <a:prstGeom prst="rect">
            <a:avLst/>
          </a:prstGeo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D083C369-5DEF-42AB-8D96-F5F19A8ED2EE}" type="slidenum">
              <a:rPr lang="en-US" altLang="nb-NO">
                <a:solidFill>
                  <a:srgbClr val="D5D2C3"/>
                </a:solidFill>
              </a:rPr>
              <a:pPr>
                <a:defRPr/>
              </a:pPr>
              <a:t>‹#›</a:t>
            </a:fld>
            <a:endParaRPr lang="en-US" altLang="nb-NO">
              <a:solidFill>
                <a:srgbClr val="D5D2C3"/>
              </a:solidFill>
            </a:endParaRPr>
          </a:p>
        </p:txBody>
      </p:sp>
      <p:pic>
        <p:nvPicPr>
          <p:cNvPr id="14" name="Picture 13" descr="Elhub_green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07699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200151"/>
            <a:ext cx="302895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200151"/>
            <a:ext cx="302895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cxnSp>
        <p:nvCxnSpPr>
          <p:cNvPr id="14" name="Straight Connector 8"/>
          <p:cNvCxnSpPr/>
          <p:nvPr userDrawn="1"/>
        </p:nvCxnSpPr>
        <p:spPr>
          <a:xfrm>
            <a:off x="161925" y="759590"/>
            <a:ext cx="63722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10" descr="Elhub_profilmønster_hvit_tynn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8" name="Picture 17" descr="Elhub_green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8051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cxnSp>
        <p:nvCxnSpPr>
          <p:cNvPr id="11" name="Straight Connector 8"/>
          <p:cNvCxnSpPr/>
          <p:nvPr userDrawn="1"/>
        </p:nvCxnSpPr>
        <p:spPr>
          <a:xfrm>
            <a:off x="161925" y="759590"/>
            <a:ext cx="63722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Picture 10" descr="Elhub_profilmønster_hvit_tynn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6" name="Picture 15" descr="Elhub_green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58429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>
          <a:xfrm>
            <a:off x="161925" y="759591"/>
            <a:ext cx="6534150" cy="438391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nb-NO" altLang="nb-NO" sz="1800" smtClean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pic>
        <p:nvPicPr>
          <p:cNvPr id="16" name="Picture 8" descr="Elhub_profilmønster_hvit_tyn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32"/>
          <a:stretch>
            <a:fillRect/>
          </a:stretch>
        </p:blipFill>
        <p:spPr bwMode="auto">
          <a:xfrm>
            <a:off x="-111918" y="4803232"/>
            <a:ext cx="6987008" cy="34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pic>
        <p:nvPicPr>
          <p:cNvPr id="14" name="Picture 13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69541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>
          <a:xfrm>
            <a:off x="161925" y="759591"/>
            <a:ext cx="6534150" cy="438391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nb-NO" altLang="nb-NO" sz="1800" smtClean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pic>
        <p:nvPicPr>
          <p:cNvPr id="12" name="Picture 8" descr="Elhub_profilmønster_hvit_tyn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32"/>
          <a:stretch>
            <a:fillRect/>
          </a:stretch>
        </p:blipFill>
        <p:spPr bwMode="auto">
          <a:xfrm>
            <a:off x="-111918" y="4803232"/>
            <a:ext cx="6987008" cy="34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pic>
        <p:nvPicPr>
          <p:cNvPr id="11" name="Picture 10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47507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Elhub_profilmønster_hvit_tynn.png"/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9" y="4882345"/>
            <a:ext cx="7070912" cy="26115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cxnSp>
        <p:nvCxnSpPr>
          <p:cNvPr id="12" name="Straight Connector 8"/>
          <p:cNvCxnSpPr/>
          <p:nvPr userDrawn="1"/>
        </p:nvCxnSpPr>
        <p:spPr>
          <a:xfrm>
            <a:off x="161925" y="759590"/>
            <a:ext cx="63722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5" name="Picture 14" descr="Elhub_green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7007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Elhub_profilmønster_hvit_tynn.png"/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9" y="4882345"/>
            <a:ext cx="7070912" cy="26115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cxnSp>
        <p:nvCxnSpPr>
          <p:cNvPr id="11" name="Straight Connector 8"/>
          <p:cNvCxnSpPr/>
          <p:nvPr userDrawn="1"/>
        </p:nvCxnSpPr>
        <p:spPr>
          <a:xfrm>
            <a:off x="161925" y="759590"/>
            <a:ext cx="63722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4" name="Picture 13" descr="Elhub_green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9723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Elhub_profilmønster_hvit_tynn.png"/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9" y="4882345"/>
            <a:ext cx="7070912" cy="26115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cxnSp>
        <p:nvCxnSpPr>
          <p:cNvPr id="11" name="Straight Connector 8"/>
          <p:cNvCxnSpPr/>
          <p:nvPr userDrawn="1"/>
        </p:nvCxnSpPr>
        <p:spPr>
          <a:xfrm>
            <a:off x="161925" y="759590"/>
            <a:ext cx="63722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4" name="Picture 13" descr="Elhub_green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63638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Elhub_profilmønster_hvit_tyn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32"/>
          <a:stretch>
            <a:fillRect/>
          </a:stretch>
        </p:blipFill>
        <p:spPr bwMode="auto">
          <a:xfrm>
            <a:off x="-111918" y="4882754"/>
            <a:ext cx="7071122" cy="26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pic>
        <p:nvPicPr>
          <p:cNvPr id="8" name="Picture 7" descr="Elhub_green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</p:spTree>
    <p:extLst>
      <p:ext uri="{BB962C8B-B14F-4D97-AF65-F5344CB8AC3E}">
        <p14:creationId xmlns:p14="http://schemas.microsoft.com/office/powerpoint/2010/main" val="2352110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14350" y="1597821"/>
            <a:ext cx="5829300" cy="1102519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n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028700" y="2914650"/>
            <a:ext cx="48006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n-NO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</p:spTree>
    <p:extLst>
      <p:ext uri="{BB962C8B-B14F-4D97-AF65-F5344CB8AC3E}">
        <p14:creationId xmlns:p14="http://schemas.microsoft.com/office/powerpoint/2010/main" val="1951426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Elhub_profilmønster_hvit_tyn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32"/>
          <a:stretch>
            <a:fillRect/>
          </a:stretch>
        </p:blipFill>
        <p:spPr bwMode="auto">
          <a:xfrm>
            <a:off x="-111918" y="4882754"/>
            <a:ext cx="7071122" cy="26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cxnSp>
        <p:nvCxnSpPr>
          <p:cNvPr id="10" name="Straight Connector 8"/>
          <p:cNvCxnSpPr/>
          <p:nvPr userDrawn="1"/>
        </p:nvCxnSpPr>
        <p:spPr>
          <a:xfrm>
            <a:off x="161925" y="759590"/>
            <a:ext cx="63722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6" name="Picture 15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168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7" descr="Elhub_profilmønster_hvit_tynn.png"/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cxnSp>
        <p:nvCxnSpPr>
          <p:cNvPr id="11" name="Straight Connector 8"/>
          <p:cNvCxnSpPr/>
          <p:nvPr userDrawn="1"/>
        </p:nvCxnSpPr>
        <p:spPr>
          <a:xfrm>
            <a:off x="161925" y="759590"/>
            <a:ext cx="63722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4" name="Picture 13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325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cxnSp>
        <p:nvCxnSpPr>
          <p:cNvPr id="11" name="Straight Connector 8"/>
          <p:cNvCxnSpPr/>
          <p:nvPr userDrawn="1"/>
        </p:nvCxnSpPr>
        <p:spPr>
          <a:xfrm>
            <a:off x="161925" y="759590"/>
            <a:ext cx="63722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Picture 17" descr="Elhub_profilmønster_hvit_tynn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pic>
        <p:nvPicPr>
          <p:cNvPr id="16" name="Picture 15" descr="Elhub_green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</p:spTree>
    <p:extLst>
      <p:ext uri="{BB962C8B-B14F-4D97-AF65-F5344CB8AC3E}">
        <p14:creationId xmlns:p14="http://schemas.microsoft.com/office/powerpoint/2010/main" val="434799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nip Single Corner Rectangle 12"/>
          <p:cNvSpPr/>
          <p:nvPr userDrawn="1"/>
        </p:nvSpPr>
        <p:spPr>
          <a:xfrm>
            <a:off x="244316" y="760095"/>
            <a:ext cx="6307694" cy="3966210"/>
          </a:xfrm>
          <a:prstGeom prst="snip1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pic>
        <p:nvPicPr>
          <p:cNvPr id="12" name="Picture 17" descr="Elhub_profilmønster_hvit_tynn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20" name="Picture 19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632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nip Single Corner Rectangle 12"/>
          <p:cNvSpPr/>
          <p:nvPr userDrawn="1"/>
        </p:nvSpPr>
        <p:spPr>
          <a:xfrm>
            <a:off x="244316" y="760095"/>
            <a:ext cx="6307694" cy="3966210"/>
          </a:xfrm>
          <a:prstGeom prst="snip1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pic>
        <p:nvPicPr>
          <p:cNvPr id="12" name="Picture 17" descr="Elhub_profilmønster_hvit_tynn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15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9" name="Picture 18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4642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nip Single Corner Rectangle 12"/>
          <p:cNvSpPr/>
          <p:nvPr userDrawn="1"/>
        </p:nvSpPr>
        <p:spPr>
          <a:xfrm>
            <a:off x="244316" y="760095"/>
            <a:ext cx="6307694" cy="396621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pic>
        <p:nvPicPr>
          <p:cNvPr id="12" name="Picture 17" descr="Elhub_profilmønster_hvit_tynn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15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9" name="Picture 18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4628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nip Single Corner Rectangle 12"/>
          <p:cNvSpPr/>
          <p:nvPr userDrawn="1"/>
        </p:nvSpPr>
        <p:spPr>
          <a:xfrm>
            <a:off x="244316" y="760095"/>
            <a:ext cx="6307694" cy="3966210"/>
          </a:xfrm>
          <a:prstGeom prst="snip1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42900" y="224116"/>
            <a:ext cx="5405718" cy="60379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pic>
        <p:nvPicPr>
          <p:cNvPr id="12" name="Picture 17" descr="Elhub_profilmønster_hvit_tynn.png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/>
          </a:blip>
          <a:srcRect b="49331"/>
          <a:stretch/>
        </p:blipFill>
        <p:spPr>
          <a:xfrm>
            <a:off x="-112057" y="4802826"/>
            <a:ext cx="6987008" cy="34407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786" y="4701716"/>
            <a:ext cx="949928" cy="335975"/>
          </a:xfrm>
          <a:prstGeom prst="rect">
            <a:avLst/>
          </a:prstGeom>
        </p:spPr>
      </p:pic>
      <p:sp>
        <p:nvSpPr>
          <p:cNvPr id="15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 dirty="0"/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375650" y="4824063"/>
            <a:ext cx="125021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  <p:pic>
        <p:nvPicPr>
          <p:cNvPr id="19" name="Picture 18" descr="Elhub_green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5266" y="268536"/>
            <a:ext cx="638175" cy="34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0082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81777808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172641"/>
            <a:ext cx="61722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 smtClean="0"/>
              <a:t>Klikk for å redigere tittelstil</a:t>
            </a:r>
            <a:endParaRPr lang="en-US" altLang="nb-NO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42900" y="1200151"/>
            <a:ext cx="61722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 smtClean="0"/>
              <a:t>Klikk for å redigere tekststiler i malen</a:t>
            </a:r>
          </a:p>
          <a:p>
            <a:pPr lvl="1"/>
            <a:r>
              <a:rPr lang="nb-NO" altLang="nb-NO" smtClean="0"/>
              <a:t>Andre nivå</a:t>
            </a:r>
          </a:p>
          <a:p>
            <a:pPr lvl="2"/>
            <a:r>
              <a:rPr lang="nb-NO" altLang="nb-NO" smtClean="0"/>
              <a:t>Tredje nivå</a:t>
            </a:r>
          </a:p>
          <a:p>
            <a:pPr lvl="3"/>
            <a:r>
              <a:rPr lang="nb-NO" altLang="nb-NO" smtClean="0"/>
              <a:t>Fjerde nivå</a:t>
            </a:r>
          </a:p>
          <a:p>
            <a:pPr lvl="4"/>
            <a:r>
              <a:rPr lang="nb-NO" altLang="nb-NO" smtClean="0"/>
              <a:t>Femte nivå</a:t>
            </a:r>
            <a:endParaRPr lang="en-US" altLang="nb-NO" smtClean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" y="4824063"/>
            <a:ext cx="1600200" cy="273844"/>
          </a:xfrm>
          <a:prstGeom prst="rect">
            <a:avLst/>
          </a:prstGeom>
        </p:spPr>
        <p:txBody>
          <a:bodyPr/>
          <a:lstStyle>
            <a:lvl1pPr algn="l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DF32132-3C61-4B91-89E4-6C8AEDFC0152}" type="datetime1">
              <a:rPr lang="en-US" altLang="nb-NO" smtClean="0"/>
              <a:pPr>
                <a:defRPr/>
              </a:pPr>
              <a:t>2/19/2016</a:t>
            </a:fld>
            <a:endParaRPr lang="en-US" altLang="nb-NO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43150" y="4824063"/>
            <a:ext cx="2171700" cy="273844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025660" y="4824063"/>
            <a:ext cx="1600200" cy="273844"/>
          </a:xfrm>
          <a:prstGeom prst="rect">
            <a:avLst/>
          </a:prstGeom>
        </p:spPr>
        <p:txBody>
          <a:bodyPr/>
          <a:lstStyle>
            <a:lvl1pPr algn="r">
              <a:defRPr sz="10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D69A6492-07F2-4DB0-A678-2D2881310EF1}" type="slidenum">
              <a:rPr lang="en-US" altLang="nb-NO" smtClean="0"/>
              <a:pPr>
                <a:defRPr/>
              </a:pPr>
              <a:t>‹#›</a:t>
            </a:fld>
            <a:endParaRPr lang="en-US" altLang="nb-NO" dirty="0"/>
          </a:p>
        </p:txBody>
      </p:sp>
    </p:spTree>
    <p:extLst>
      <p:ext uri="{BB962C8B-B14F-4D97-AF65-F5344CB8AC3E}">
        <p14:creationId xmlns:p14="http://schemas.microsoft.com/office/powerpoint/2010/main" val="3705742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9" r:id="rId3"/>
    <p:sldLayoutId id="2147483675" r:id="rId4"/>
    <p:sldLayoutId id="2147483690" r:id="rId5"/>
    <p:sldLayoutId id="2147483692" r:id="rId6"/>
    <p:sldLayoutId id="2147483693" r:id="rId7"/>
    <p:sldLayoutId id="2147483697" r:id="rId8"/>
    <p:sldLayoutId id="2147483694" r:id="rId9"/>
    <p:sldLayoutId id="2147483695" r:id="rId10"/>
    <p:sldLayoutId id="2147483696" r:id="rId11"/>
    <p:sldLayoutId id="2147483676" r:id="rId12"/>
    <p:sldLayoutId id="2147483677" r:id="rId13"/>
    <p:sldLayoutId id="2147483678" r:id="rId14"/>
    <p:sldLayoutId id="2147483688" r:id="rId15"/>
    <p:sldLayoutId id="2147483691" r:id="rId16"/>
    <p:sldLayoutId id="2147483679" r:id="rId17"/>
    <p:sldLayoutId id="2147483681" r:id="rId18"/>
    <p:sldLayoutId id="2147483682" r:id="rId19"/>
    <p:sldLayoutId id="2147483685" r:id="rId20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+mj-lt"/>
          <a:ea typeface="ＭＳ Ｐゴシック" panose="020B0600070205080204" pitchFamily="34" charset="-128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9pPr>
    </p:titleStyle>
    <p:bodyStyle>
      <a:lvl1pPr marL="179388" indent="-179388" algn="l" defTabSz="457200" rtl="0" eaLnBrk="1" fontAlgn="base" hangingPunct="1">
        <a:spcBef>
          <a:spcPts val="1175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anose="020B0600070205080204" pitchFamily="34" charset="-128"/>
          <a:cs typeface="+mn-cs"/>
        </a:defRPr>
      </a:lvl1pPr>
      <a:lvl2pPr marL="539750" indent="-179388" algn="l" defTabSz="457200" rtl="0" eaLnBrk="1" fontAlgn="base" hangingPunct="1">
        <a:spcBef>
          <a:spcPts val="575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anose="020B0600070205080204" pitchFamily="34" charset="-128"/>
          <a:cs typeface="+mn-cs"/>
        </a:defRPr>
      </a:lvl2pPr>
      <a:lvl3pPr marL="989013" indent="-179388" algn="l" defTabSz="457200" rtl="0" eaLnBrk="1" fontAlgn="base" hangingPunct="1">
        <a:spcBef>
          <a:spcPts val="11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ＭＳ Ｐゴシック" panose="020B0600070205080204" pitchFamily="34" charset="-128"/>
          <a:cs typeface="+mn-cs"/>
        </a:defRPr>
      </a:lvl3pPr>
      <a:lvl4pPr marL="1438275" indent="-179388" algn="l" defTabSz="457200" rtl="0" eaLnBrk="1" fontAlgn="base" hangingPunct="1">
        <a:spcBef>
          <a:spcPts val="1175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panose="020B0600070205080204" pitchFamily="34" charset="-128"/>
          <a:cs typeface="+mn-cs"/>
        </a:defRPr>
      </a:lvl4pPr>
      <a:lvl5pPr marL="1887538" indent="-179388" algn="l" defTabSz="457200" rtl="0" eaLnBrk="1" fontAlgn="base" hangingPunct="1">
        <a:spcBef>
          <a:spcPts val="1175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ＭＳ Ｐゴシック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/>
          <p:cNvSpPr txBox="1">
            <a:spLocks/>
          </p:cNvSpPr>
          <p:nvPr/>
        </p:nvSpPr>
        <p:spPr>
          <a:xfrm>
            <a:off x="2614987" y="209994"/>
            <a:ext cx="3531870" cy="1675093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+mj-lt"/>
                <a:ea typeface="ＭＳ Ｐゴシック" panose="020B0600070205080204" pitchFamily="34" charset="-128"/>
                <a:cs typeface="+mj-cs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sz="3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hub</a:t>
            </a:r>
            <a:r>
              <a:rPr lang="en-US" sz="4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en-US" sz="48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en-US" sz="4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87471" y="1321924"/>
            <a:ext cx="3999140" cy="18876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Norwegian </a:t>
            </a:r>
            <a:r>
              <a:rPr lang="en-US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hub</a:t>
            </a:r>
            <a:endParaRPr 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Aft>
                <a:spcPts val="1000"/>
              </a:spcAft>
            </a:pPr>
            <a: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 digitalised, customer-centric and highly competitive retail electricity market for Norway…</a:t>
            </a:r>
          </a:p>
          <a:p>
            <a:pPr>
              <a:spcAft>
                <a:spcPts val="1000"/>
              </a:spcAft>
            </a:pPr>
            <a: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.. lessons for others?</a:t>
            </a: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7022" y="3693128"/>
            <a:ext cx="1500978" cy="1445514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 bwMode="auto">
          <a:xfrm>
            <a:off x="3779713" y="4030026"/>
            <a:ext cx="2184668" cy="937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chemeClr val="tx1"/>
                </a:solidFill>
                <a:latin typeface="+mj-lt"/>
                <a:ea typeface="ＭＳ Ｐゴシック" panose="020B0600070205080204" pitchFamily="34" charset="-128"/>
                <a:cs typeface="+mj-cs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nb-NO" sz="14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r B. Heiberg</a:t>
            </a:r>
          </a:p>
          <a:p>
            <a:r>
              <a:rPr lang="nb-NO" sz="1400" b="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anaging</a:t>
            </a:r>
            <a:r>
              <a:rPr lang="nb-NO" sz="14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rector</a:t>
            </a:r>
            <a:endParaRPr lang="nb-NO" sz="1400" b="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nb-NO" sz="1400" b="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hub</a:t>
            </a:r>
            <a:r>
              <a:rPr lang="nb-NO" sz="14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S</a:t>
            </a:r>
          </a:p>
          <a:p>
            <a:r>
              <a:rPr lang="nb-NO" sz="14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- a Statnett </a:t>
            </a:r>
            <a:r>
              <a:rPr lang="nb-NO" sz="1400" b="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pany</a:t>
            </a:r>
            <a:r>
              <a:rPr lang="nb-NO" sz="14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0"/>
            <a:ext cx="2369634" cy="5143500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37304" y="4795742"/>
            <a:ext cx="648715" cy="17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29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453" y="883227"/>
            <a:ext cx="6385774" cy="38238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453" y="181364"/>
            <a:ext cx="5407877" cy="603793"/>
          </a:xfrm>
        </p:spPr>
        <p:txBody>
          <a:bodyPr>
            <a:normAutofit/>
          </a:bodyPr>
          <a:lstStyle/>
          <a:p>
            <a:r>
              <a:rPr lang="en-GB" sz="2400" dirty="0" smtClean="0"/>
              <a:t>Legislation and other drivers for Norway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050468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83925" y="186423"/>
            <a:ext cx="4850851" cy="603793"/>
          </a:xfrm>
        </p:spPr>
        <p:txBody>
          <a:bodyPr>
            <a:normAutofit/>
          </a:bodyPr>
          <a:lstStyle/>
          <a:p>
            <a:r>
              <a:rPr lang="en-US" dirty="0" smtClean="0"/>
              <a:t>Introducing </a:t>
            </a:r>
            <a:r>
              <a:rPr lang="en-US" dirty="0"/>
              <a:t>a datahub (</a:t>
            </a:r>
            <a:r>
              <a:rPr lang="en-US" dirty="0" err="1"/>
              <a:t>Elhub</a:t>
            </a:r>
            <a:r>
              <a:rPr lang="en-US" dirty="0" smtClean="0"/>
              <a:t>) </a:t>
            </a:r>
            <a:r>
              <a:rPr lang="en-US" dirty="0" err="1" smtClean="0"/>
              <a:t>i</a:t>
            </a:r>
            <a:endParaRPr lang="en-US" dirty="0"/>
          </a:p>
        </p:txBody>
      </p:sp>
      <p:sp>
        <p:nvSpPr>
          <p:cNvPr id="4" name="Tittel 1"/>
          <p:cNvSpPr txBox="1">
            <a:spLocks/>
          </p:cNvSpPr>
          <p:nvPr/>
        </p:nvSpPr>
        <p:spPr>
          <a:xfrm>
            <a:off x="363894" y="0"/>
            <a:ext cx="6172200" cy="857250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D31245"/>
                </a:solidFill>
                <a:latin typeface="Times"/>
                <a:ea typeface="+mj-ea"/>
                <a:cs typeface="Times"/>
              </a:defRPr>
            </a:lvl1pPr>
          </a:lstStyle>
          <a:p>
            <a:pPr algn="l"/>
            <a:endParaRPr lang="nb-NO" sz="1800" dirty="0"/>
          </a:p>
        </p:txBody>
      </p:sp>
      <p:pic>
        <p:nvPicPr>
          <p:cNvPr id="111" name="Bilde 1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7208" y="4741239"/>
            <a:ext cx="1052396" cy="279450"/>
          </a:xfrm>
          <a:prstGeom prst="rect">
            <a:avLst/>
          </a:prstGeom>
        </p:spPr>
      </p:pic>
      <p:pic>
        <p:nvPicPr>
          <p:cNvPr id="15" name="Bild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894" y="1128527"/>
            <a:ext cx="6070360" cy="327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087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80024" y="182374"/>
            <a:ext cx="4597257" cy="603793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Introducing </a:t>
            </a:r>
            <a:r>
              <a:rPr lang="en-US" dirty="0"/>
              <a:t>a datahub (</a:t>
            </a:r>
            <a:r>
              <a:rPr lang="en-US" dirty="0" err="1"/>
              <a:t>Elhub</a:t>
            </a:r>
            <a:r>
              <a:rPr lang="en-US" dirty="0" smtClean="0"/>
              <a:t>) (ii)</a:t>
            </a:r>
            <a:endParaRPr lang="en-US" dirty="0"/>
          </a:p>
        </p:txBody>
      </p:sp>
      <p:sp>
        <p:nvSpPr>
          <p:cNvPr id="4" name="Tittel 1"/>
          <p:cNvSpPr txBox="1">
            <a:spLocks/>
          </p:cNvSpPr>
          <p:nvPr/>
        </p:nvSpPr>
        <p:spPr>
          <a:xfrm>
            <a:off x="6593903" y="2883341"/>
            <a:ext cx="6172200" cy="857250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D31245"/>
                </a:solidFill>
                <a:latin typeface="Times"/>
                <a:ea typeface="+mj-ea"/>
                <a:cs typeface="Times"/>
              </a:defRPr>
            </a:lvl1pPr>
          </a:lstStyle>
          <a:p>
            <a:pPr algn="l"/>
            <a:endParaRPr lang="nb-NO" sz="1800" dirty="0"/>
          </a:p>
        </p:txBody>
      </p:sp>
      <p:pic>
        <p:nvPicPr>
          <p:cNvPr id="111" name="Bilde 1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5849" y="4709697"/>
            <a:ext cx="1052396" cy="279450"/>
          </a:xfrm>
          <a:prstGeom prst="rect">
            <a:avLst/>
          </a:prstGeom>
        </p:spPr>
      </p:pic>
      <p:sp>
        <p:nvSpPr>
          <p:cNvPr id="202" name="Rectangle 55"/>
          <p:cNvSpPr/>
          <p:nvPr/>
        </p:nvSpPr>
        <p:spPr>
          <a:xfrm>
            <a:off x="1093690" y="3273302"/>
            <a:ext cx="5015117" cy="4937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3" name="Gruppe 202"/>
          <p:cNvGrpSpPr/>
          <p:nvPr/>
        </p:nvGrpSpPr>
        <p:grpSpPr>
          <a:xfrm>
            <a:off x="621871" y="3256396"/>
            <a:ext cx="530730" cy="523220"/>
            <a:chOff x="3855345" y="206621"/>
            <a:chExt cx="530730" cy="523220"/>
          </a:xfrm>
        </p:grpSpPr>
        <p:sp>
          <p:nvSpPr>
            <p:cNvPr id="205" name="Rounded Rectangle 56"/>
            <p:cNvSpPr/>
            <p:nvPr/>
          </p:nvSpPr>
          <p:spPr>
            <a:xfrm>
              <a:off x="3855345" y="219580"/>
              <a:ext cx="530730" cy="497303"/>
            </a:xfrm>
            <a:prstGeom prst="roundRect">
              <a:avLst>
                <a:gd name="adj" fmla="val 7844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TekstSylinder 205"/>
            <p:cNvSpPr txBox="1"/>
            <p:nvPr/>
          </p:nvSpPr>
          <p:spPr>
            <a:xfrm>
              <a:off x="3923747" y="206621"/>
              <a:ext cx="438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2800" dirty="0">
                  <a:solidFill>
                    <a:srgbClr val="F0F0F0"/>
                  </a:solidFill>
                </a:rPr>
                <a:t>€</a:t>
              </a:r>
            </a:p>
          </p:txBody>
        </p:sp>
      </p:grpSp>
      <p:sp>
        <p:nvSpPr>
          <p:cNvPr id="204" name="Rectangle 17"/>
          <p:cNvSpPr/>
          <p:nvPr/>
        </p:nvSpPr>
        <p:spPr>
          <a:xfrm>
            <a:off x="1140640" y="3352445"/>
            <a:ext cx="46614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ost efficient – </a:t>
            </a:r>
            <a:r>
              <a:rPr lang="en-US" sz="1400" dirty="0" smtClean="0"/>
              <a:t>for </a:t>
            </a:r>
            <a:r>
              <a:rPr lang="en-US" sz="1400" dirty="0"/>
              <a:t>industry and consumers</a:t>
            </a:r>
          </a:p>
        </p:txBody>
      </p:sp>
      <p:grpSp>
        <p:nvGrpSpPr>
          <p:cNvPr id="207" name="Gruppe 206"/>
          <p:cNvGrpSpPr/>
          <p:nvPr/>
        </p:nvGrpSpPr>
        <p:grpSpPr>
          <a:xfrm>
            <a:off x="621872" y="1902405"/>
            <a:ext cx="5486935" cy="484616"/>
            <a:chOff x="457200" y="1059994"/>
            <a:chExt cx="5486935" cy="484616"/>
          </a:xfrm>
        </p:grpSpPr>
        <p:sp>
          <p:nvSpPr>
            <p:cNvPr id="208" name="Rectangle 52"/>
            <p:cNvSpPr/>
            <p:nvPr/>
          </p:nvSpPr>
          <p:spPr>
            <a:xfrm>
              <a:off x="852107" y="1059994"/>
              <a:ext cx="5092028" cy="4846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Rectangle 14"/>
            <p:cNvSpPr/>
            <p:nvPr/>
          </p:nvSpPr>
          <p:spPr>
            <a:xfrm>
              <a:off x="941513" y="1142310"/>
              <a:ext cx="500262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400" dirty="0"/>
                <a:t>From multiple ‘truths’ to single truth </a:t>
              </a:r>
              <a:r>
                <a:rPr lang="en-GB" sz="1400" dirty="0" smtClean="0"/>
                <a:t>with </a:t>
              </a:r>
              <a:r>
                <a:rPr lang="en-GB" sz="1400" dirty="0"/>
                <a:t>transparent data for all</a:t>
              </a:r>
            </a:p>
          </p:txBody>
        </p:sp>
        <p:grpSp>
          <p:nvGrpSpPr>
            <p:cNvPr id="210" name="Gruppe 209"/>
            <p:cNvGrpSpPr/>
            <p:nvPr/>
          </p:nvGrpSpPr>
          <p:grpSpPr>
            <a:xfrm>
              <a:off x="457200" y="1059994"/>
              <a:ext cx="530730" cy="480154"/>
              <a:chOff x="272714" y="1059994"/>
              <a:chExt cx="722408" cy="672686"/>
            </a:xfrm>
          </p:grpSpPr>
          <p:sp>
            <p:nvSpPr>
              <p:cNvPr id="211" name="Rounded Rectangle 10"/>
              <p:cNvSpPr/>
              <p:nvPr/>
            </p:nvSpPr>
            <p:spPr>
              <a:xfrm>
                <a:off x="272714" y="1059994"/>
                <a:ext cx="722408" cy="672686"/>
              </a:xfrm>
              <a:prstGeom prst="roundRect">
                <a:avLst>
                  <a:gd name="adj" fmla="val 7844"/>
                </a:avLst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Freeform 154"/>
              <p:cNvSpPr>
                <a:spLocks noEditPoints="1"/>
              </p:cNvSpPr>
              <p:nvPr/>
            </p:nvSpPr>
            <p:spPr bwMode="auto">
              <a:xfrm>
                <a:off x="374524" y="1125963"/>
                <a:ext cx="509315" cy="507140"/>
              </a:xfrm>
              <a:custGeom>
                <a:avLst/>
                <a:gdLst>
                  <a:gd name="T0" fmla="*/ 193 w 198"/>
                  <a:gd name="T1" fmla="*/ 173 h 197"/>
                  <a:gd name="T2" fmla="*/ 141 w 198"/>
                  <a:gd name="T3" fmla="*/ 121 h 197"/>
                  <a:gd name="T4" fmla="*/ 155 w 198"/>
                  <a:gd name="T5" fmla="*/ 77 h 197"/>
                  <a:gd name="T6" fmla="*/ 77 w 198"/>
                  <a:gd name="T7" fmla="*/ 0 h 197"/>
                  <a:gd name="T8" fmla="*/ 0 w 198"/>
                  <a:gd name="T9" fmla="*/ 77 h 197"/>
                  <a:gd name="T10" fmla="*/ 77 w 198"/>
                  <a:gd name="T11" fmla="*/ 155 h 197"/>
                  <a:gd name="T12" fmla="*/ 121 w 198"/>
                  <a:gd name="T13" fmla="*/ 141 h 197"/>
                  <a:gd name="T14" fmla="*/ 173 w 198"/>
                  <a:gd name="T15" fmla="*/ 193 h 197"/>
                  <a:gd name="T16" fmla="*/ 183 w 198"/>
                  <a:gd name="T17" fmla="*/ 197 h 197"/>
                  <a:gd name="T18" fmla="*/ 193 w 198"/>
                  <a:gd name="T19" fmla="*/ 193 h 197"/>
                  <a:gd name="T20" fmla="*/ 193 w 198"/>
                  <a:gd name="T21" fmla="*/ 173 h 197"/>
                  <a:gd name="T22" fmla="*/ 77 w 198"/>
                  <a:gd name="T23" fmla="*/ 147 h 197"/>
                  <a:gd name="T24" fmla="*/ 8 w 198"/>
                  <a:gd name="T25" fmla="*/ 77 h 197"/>
                  <a:gd name="T26" fmla="*/ 77 w 198"/>
                  <a:gd name="T27" fmla="*/ 8 h 197"/>
                  <a:gd name="T28" fmla="*/ 147 w 198"/>
                  <a:gd name="T29" fmla="*/ 77 h 197"/>
                  <a:gd name="T30" fmla="*/ 77 w 198"/>
                  <a:gd name="T31" fmla="*/ 147 h 197"/>
                  <a:gd name="T32" fmla="*/ 187 w 198"/>
                  <a:gd name="T33" fmla="*/ 187 h 197"/>
                  <a:gd name="T34" fmla="*/ 179 w 198"/>
                  <a:gd name="T35" fmla="*/ 187 h 197"/>
                  <a:gd name="T36" fmla="*/ 128 w 198"/>
                  <a:gd name="T37" fmla="*/ 136 h 197"/>
                  <a:gd name="T38" fmla="*/ 136 w 198"/>
                  <a:gd name="T39" fmla="*/ 128 h 197"/>
                  <a:gd name="T40" fmla="*/ 187 w 198"/>
                  <a:gd name="T41" fmla="*/ 179 h 197"/>
                  <a:gd name="T42" fmla="*/ 187 w 198"/>
                  <a:gd name="T43" fmla="*/ 18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98" h="197">
                    <a:moveTo>
                      <a:pt x="193" y="173"/>
                    </a:moveTo>
                    <a:cubicBezTo>
                      <a:pt x="141" y="121"/>
                      <a:pt x="141" y="121"/>
                      <a:pt x="141" y="121"/>
                    </a:cubicBezTo>
                    <a:cubicBezTo>
                      <a:pt x="150" y="109"/>
                      <a:pt x="155" y="94"/>
                      <a:pt x="155" y="77"/>
                    </a:cubicBezTo>
                    <a:cubicBezTo>
                      <a:pt x="155" y="35"/>
                      <a:pt x="120" y="0"/>
                      <a:pt x="77" y="0"/>
                    </a:cubicBezTo>
                    <a:cubicBezTo>
                      <a:pt x="35" y="0"/>
                      <a:pt x="0" y="35"/>
                      <a:pt x="0" y="77"/>
                    </a:cubicBezTo>
                    <a:cubicBezTo>
                      <a:pt x="0" y="120"/>
                      <a:pt x="35" y="155"/>
                      <a:pt x="77" y="155"/>
                    </a:cubicBezTo>
                    <a:cubicBezTo>
                      <a:pt x="94" y="155"/>
                      <a:pt x="109" y="150"/>
                      <a:pt x="121" y="141"/>
                    </a:cubicBezTo>
                    <a:cubicBezTo>
                      <a:pt x="173" y="193"/>
                      <a:pt x="173" y="193"/>
                      <a:pt x="173" y="193"/>
                    </a:cubicBezTo>
                    <a:cubicBezTo>
                      <a:pt x="176" y="196"/>
                      <a:pt x="179" y="197"/>
                      <a:pt x="183" y="197"/>
                    </a:cubicBezTo>
                    <a:cubicBezTo>
                      <a:pt x="186" y="197"/>
                      <a:pt x="190" y="196"/>
                      <a:pt x="193" y="193"/>
                    </a:cubicBezTo>
                    <a:cubicBezTo>
                      <a:pt x="198" y="188"/>
                      <a:pt x="198" y="179"/>
                      <a:pt x="193" y="173"/>
                    </a:cubicBezTo>
                    <a:close/>
                    <a:moveTo>
                      <a:pt x="77" y="147"/>
                    </a:moveTo>
                    <a:cubicBezTo>
                      <a:pt x="39" y="147"/>
                      <a:pt x="8" y="116"/>
                      <a:pt x="8" y="77"/>
                    </a:cubicBezTo>
                    <a:cubicBezTo>
                      <a:pt x="8" y="39"/>
                      <a:pt x="39" y="8"/>
                      <a:pt x="77" y="8"/>
                    </a:cubicBezTo>
                    <a:cubicBezTo>
                      <a:pt x="116" y="8"/>
                      <a:pt x="147" y="39"/>
                      <a:pt x="147" y="77"/>
                    </a:cubicBezTo>
                    <a:cubicBezTo>
                      <a:pt x="147" y="116"/>
                      <a:pt x="116" y="147"/>
                      <a:pt x="77" y="147"/>
                    </a:cubicBezTo>
                    <a:close/>
                    <a:moveTo>
                      <a:pt x="187" y="187"/>
                    </a:moveTo>
                    <a:cubicBezTo>
                      <a:pt x="185" y="190"/>
                      <a:pt x="181" y="190"/>
                      <a:pt x="179" y="187"/>
                    </a:cubicBezTo>
                    <a:cubicBezTo>
                      <a:pt x="128" y="136"/>
                      <a:pt x="128" y="136"/>
                      <a:pt x="128" y="136"/>
                    </a:cubicBezTo>
                    <a:cubicBezTo>
                      <a:pt x="131" y="134"/>
                      <a:pt x="134" y="131"/>
                      <a:pt x="136" y="128"/>
                    </a:cubicBezTo>
                    <a:cubicBezTo>
                      <a:pt x="187" y="179"/>
                      <a:pt x="187" y="179"/>
                      <a:pt x="187" y="179"/>
                    </a:cubicBezTo>
                    <a:cubicBezTo>
                      <a:pt x="190" y="181"/>
                      <a:pt x="190" y="185"/>
                      <a:pt x="187" y="187"/>
                    </a:cubicBezTo>
                    <a:close/>
                  </a:path>
                </a:pathLst>
              </a:custGeom>
              <a:solidFill>
                <a:srgbClr val="F4F3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Freeform 6"/>
              <p:cNvSpPr>
                <a:spLocks noEditPoints="1"/>
              </p:cNvSpPr>
              <p:nvPr/>
            </p:nvSpPr>
            <p:spPr bwMode="auto">
              <a:xfrm rot="5400000">
                <a:off x="439029" y="1180272"/>
                <a:ext cx="261445" cy="294248"/>
              </a:xfrm>
              <a:custGeom>
                <a:avLst/>
                <a:gdLst>
                  <a:gd name="T0" fmla="*/ 604 w 1838"/>
                  <a:gd name="T1" fmla="*/ 253 h 2192"/>
                  <a:gd name="T2" fmla="*/ 1159 w 1838"/>
                  <a:gd name="T3" fmla="*/ 963 h 2192"/>
                  <a:gd name="T4" fmla="*/ 1105 w 1838"/>
                  <a:gd name="T5" fmla="*/ 573 h 2192"/>
                  <a:gd name="T6" fmla="*/ 214 w 1838"/>
                  <a:gd name="T7" fmla="*/ 0 h 2192"/>
                  <a:gd name="T8" fmla="*/ 1159 w 1838"/>
                  <a:gd name="T9" fmla="*/ 694 h 2192"/>
                  <a:gd name="T10" fmla="*/ 1088 w 1838"/>
                  <a:gd name="T11" fmla="*/ 764 h 2192"/>
                  <a:gd name="T12" fmla="*/ 284 w 1838"/>
                  <a:gd name="T13" fmla="*/ 198 h 2192"/>
                  <a:gd name="T14" fmla="*/ 214 w 1838"/>
                  <a:gd name="T15" fmla="*/ 128 h 2192"/>
                  <a:gd name="T16" fmla="*/ 1443 w 1838"/>
                  <a:gd name="T17" fmla="*/ 262 h 2192"/>
                  <a:gd name="T18" fmla="*/ 1309 w 1838"/>
                  <a:gd name="T19" fmla="*/ 1063 h 2192"/>
                  <a:gd name="T20" fmla="*/ 903 w 1838"/>
                  <a:gd name="T21" fmla="*/ 764 h 2192"/>
                  <a:gd name="T22" fmla="*/ 639 w 1838"/>
                  <a:gd name="T23" fmla="*/ 952 h 2192"/>
                  <a:gd name="T24" fmla="*/ 704 w 1838"/>
                  <a:gd name="T25" fmla="*/ 1683 h 2192"/>
                  <a:gd name="T26" fmla="*/ 767 w 1838"/>
                  <a:gd name="T27" fmla="*/ 1191 h 2192"/>
                  <a:gd name="T28" fmla="*/ 1683 w 1838"/>
                  <a:gd name="T29" fmla="*/ 390 h 2192"/>
                  <a:gd name="T30" fmla="*/ 1443 w 1838"/>
                  <a:gd name="T31" fmla="*/ 134 h 2192"/>
                  <a:gd name="T32" fmla="*/ 960 w 1838"/>
                  <a:gd name="T33" fmla="*/ 198 h 2192"/>
                  <a:gd name="T34" fmla="*/ 704 w 1838"/>
                  <a:gd name="T35" fmla="*/ 1555 h 2192"/>
                  <a:gd name="T36" fmla="*/ 775 w 1838"/>
                  <a:gd name="T37" fmla="*/ 1484 h 2192"/>
                  <a:gd name="T38" fmla="*/ 704 w 1838"/>
                  <a:gd name="T39" fmla="*/ 694 h 2192"/>
                  <a:gd name="T40" fmla="*/ 1631 w 1838"/>
                  <a:gd name="T41" fmla="*/ 128 h 2192"/>
                  <a:gd name="T42" fmla="*/ 1560 w 1838"/>
                  <a:gd name="T43" fmla="*/ 198 h 2192"/>
                  <a:gd name="T44" fmla="*/ 1230 w 1838"/>
                  <a:gd name="T45" fmla="*/ 198 h 2192"/>
                  <a:gd name="T46" fmla="*/ 1159 w 1838"/>
                  <a:gd name="T47" fmla="*/ 128 h 2192"/>
                  <a:gd name="T48" fmla="*/ 1823 w 1838"/>
                  <a:gd name="T49" fmla="*/ 1484 h 2192"/>
                  <a:gd name="T50" fmla="*/ 1553 w 1838"/>
                  <a:gd name="T51" fmla="*/ 1670 h 2192"/>
                  <a:gd name="T52" fmla="*/ 1362 w 1838"/>
                  <a:gd name="T53" fmla="*/ 1922 h 2192"/>
                  <a:gd name="T54" fmla="*/ 1177 w 1838"/>
                  <a:gd name="T55" fmla="*/ 2192 h 2192"/>
                  <a:gd name="T56" fmla="*/ 1639 w 1838"/>
                  <a:gd name="T57" fmla="*/ 2192 h 2192"/>
                  <a:gd name="T58" fmla="*/ 1177 w 1838"/>
                  <a:gd name="T59" fmla="*/ 2064 h 2192"/>
                  <a:gd name="T60" fmla="*/ 1247 w 1838"/>
                  <a:gd name="T61" fmla="*/ 1993 h 2192"/>
                  <a:gd name="T62" fmla="*/ 1695 w 1838"/>
                  <a:gd name="T63" fmla="*/ 1484 h 2192"/>
                  <a:gd name="T64" fmla="*/ 1624 w 1838"/>
                  <a:gd name="T65" fmla="*/ 1414 h 2192"/>
                  <a:gd name="T66" fmla="*/ 1639 w 1838"/>
                  <a:gd name="T67" fmla="*/ 1922 h 2192"/>
                  <a:gd name="T68" fmla="*/ 1133 w 1838"/>
                  <a:gd name="T69" fmla="*/ 1678 h 2192"/>
                  <a:gd name="T70" fmla="*/ 1177 w 1838"/>
                  <a:gd name="T71" fmla="*/ 1286 h 2192"/>
                  <a:gd name="T72" fmla="*/ 807 w 1838"/>
                  <a:gd name="T73" fmla="*/ 1823 h 2192"/>
                  <a:gd name="T74" fmla="*/ 384 w 1838"/>
                  <a:gd name="T75" fmla="*/ 1922 h 2192"/>
                  <a:gd name="T76" fmla="*/ 412 w 1838"/>
                  <a:gd name="T77" fmla="*/ 764 h 2192"/>
                  <a:gd name="T78" fmla="*/ 157 w 1838"/>
                  <a:gd name="T79" fmla="*/ 955 h 2192"/>
                  <a:gd name="T80" fmla="*/ 199 w 1838"/>
                  <a:gd name="T81" fmla="*/ 2192 h 2192"/>
                  <a:gd name="T82" fmla="*/ 704 w 1838"/>
                  <a:gd name="T83" fmla="*/ 2192 h 2192"/>
                  <a:gd name="T84" fmla="*/ 1133 w 1838"/>
                  <a:gd name="T85" fmla="*/ 1678 h 2192"/>
                  <a:gd name="T86" fmla="*/ 1177 w 1838"/>
                  <a:gd name="T87" fmla="*/ 1555 h 2192"/>
                  <a:gd name="T88" fmla="*/ 199 w 1838"/>
                  <a:gd name="T89" fmla="*/ 2064 h 2192"/>
                  <a:gd name="T90" fmla="*/ 270 w 1838"/>
                  <a:gd name="T91" fmla="*/ 1993 h 2192"/>
                  <a:gd name="T92" fmla="*/ 143 w 1838"/>
                  <a:gd name="T93" fmla="*/ 764 h 2192"/>
                  <a:gd name="T94" fmla="*/ 214 w 1838"/>
                  <a:gd name="T95" fmla="*/ 835 h 2192"/>
                  <a:gd name="T96" fmla="*/ 704 w 1838"/>
                  <a:gd name="T97" fmla="*/ 1922 h 2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38" h="2192">
                    <a:moveTo>
                      <a:pt x="214" y="397"/>
                    </a:moveTo>
                    <a:cubicBezTo>
                      <a:pt x="304" y="397"/>
                      <a:pt x="381" y="336"/>
                      <a:pt x="405" y="253"/>
                    </a:cubicBezTo>
                    <a:cubicBezTo>
                      <a:pt x="604" y="253"/>
                      <a:pt x="604" y="253"/>
                      <a:pt x="604" y="253"/>
                    </a:cubicBezTo>
                    <a:cubicBezTo>
                      <a:pt x="998" y="647"/>
                      <a:pt x="998" y="647"/>
                      <a:pt x="998" y="647"/>
                    </a:cubicBezTo>
                    <a:cubicBezTo>
                      <a:pt x="974" y="680"/>
                      <a:pt x="960" y="720"/>
                      <a:pt x="960" y="764"/>
                    </a:cubicBezTo>
                    <a:cubicBezTo>
                      <a:pt x="960" y="874"/>
                      <a:pt x="1049" y="963"/>
                      <a:pt x="1159" y="963"/>
                    </a:cubicBezTo>
                    <a:cubicBezTo>
                      <a:pt x="1268" y="963"/>
                      <a:pt x="1358" y="874"/>
                      <a:pt x="1358" y="764"/>
                    </a:cubicBezTo>
                    <a:cubicBezTo>
                      <a:pt x="1358" y="655"/>
                      <a:pt x="1268" y="566"/>
                      <a:pt x="1159" y="566"/>
                    </a:cubicBezTo>
                    <a:cubicBezTo>
                      <a:pt x="1140" y="566"/>
                      <a:pt x="1122" y="568"/>
                      <a:pt x="1105" y="573"/>
                    </a:cubicBezTo>
                    <a:cubicBezTo>
                      <a:pt x="657" y="125"/>
                      <a:pt x="657" y="125"/>
                      <a:pt x="657" y="125"/>
                    </a:cubicBezTo>
                    <a:cubicBezTo>
                      <a:pt x="398" y="125"/>
                      <a:pt x="398" y="125"/>
                      <a:pt x="398" y="125"/>
                    </a:cubicBezTo>
                    <a:cubicBezTo>
                      <a:pt x="369" y="51"/>
                      <a:pt x="297" y="0"/>
                      <a:pt x="214" y="0"/>
                    </a:cubicBezTo>
                    <a:cubicBezTo>
                      <a:pt x="104" y="0"/>
                      <a:pt x="15" y="89"/>
                      <a:pt x="15" y="198"/>
                    </a:cubicBezTo>
                    <a:cubicBezTo>
                      <a:pt x="15" y="308"/>
                      <a:pt x="104" y="397"/>
                      <a:pt x="214" y="397"/>
                    </a:cubicBezTo>
                    <a:close/>
                    <a:moveTo>
                      <a:pt x="1159" y="694"/>
                    </a:moveTo>
                    <a:cubicBezTo>
                      <a:pt x="1198" y="694"/>
                      <a:pt x="1230" y="725"/>
                      <a:pt x="1230" y="764"/>
                    </a:cubicBezTo>
                    <a:cubicBezTo>
                      <a:pt x="1230" y="803"/>
                      <a:pt x="1198" y="835"/>
                      <a:pt x="1159" y="835"/>
                    </a:cubicBezTo>
                    <a:cubicBezTo>
                      <a:pt x="1120" y="835"/>
                      <a:pt x="1088" y="803"/>
                      <a:pt x="1088" y="764"/>
                    </a:cubicBezTo>
                    <a:cubicBezTo>
                      <a:pt x="1088" y="725"/>
                      <a:pt x="1120" y="694"/>
                      <a:pt x="1159" y="694"/>
                    </a:cubicBezTo>
                    <a:close/>
                    <a:moveTo>
                      <a:pt x="214" y="128"/>
                    </a:moveTo>
                    <a:cubicBezTo>
                      <a:pt x="253" y="128"/>
                      <a:pt x="284" y="159"/>
                      <a:pt x="284" y="198"/>
                    </a:cubicBezTo>
                    <a:cubicBezTo>
                      <a:pt x="284" y="237"/>
                      <a:pt x="253" y="269"/>
                      <a:pt x="214" y="269"/>
                    </a:cubicBezTo>
                    <a:cubicBezTo>
                      <a:pt x="175" y="269"/>
                      <a:pt x="143" y="237"/>
                      <a:pt x="143" y="198"/>
                    </a:cubicBezTo>
                    <a:cubicBezTo>
                      <a:pt x="143" y="159"/>
                      <a:pt x="175" y="128"/>
                      <a:pt x="214" y="128"/>
                    </a:cubicBezTo>
                    <a:close/>
                    <a:moveTo>
                      <a:pt x="1159" y="397"/>
                    </a:moveTo>
                    <a:cubicBezTo>
                      <a:pt x="1246" y="397"/>
                      <a:pt x="1320" y="341"/>
                      <a:pt x="1347" y="262"/>
                    </a:cubicBezTo>
                    <a:cubicBezTo>
                      <a:pt x="1443" y="262"/>
                      <a:pt x="1443" y="262"/>
                      <a:pt x="1443" y="262"/>
                    </a:cubicBezTo>
                    <a:cubicBezTo>
                      <a:pt x="1461" y="317"/>
                      <a:pt x="1503" y="360"/>
                      <a:pt x="1555" y="382"/>
                    </a:cubicBezTo>
                    <a:cubicBezTo>
                      <a:pt x="1555" y="817"/>
                      <a:pt x="1555" y="817"/>
                      <a:pt x="1555" y="817"/>
                    </a:cubicBezTo>
                    <a:cubicBezTo>
                      <a:pt x="1309" y="1063"/>
                      <a:pt x="1309" y="1063"/>
                      <a:pt x="1309" y="1063"/>
                    </a:cubicBezTo>
                    <a:cubicBezTo>
                      <a:pt x="767" y="1063"/>
                      <a:pt x="767" y="1063"/>
                      <a:pt x="767" y="1063"/>
                    </a:cubicBezTo>
                    <a:cubicBezTo>
                      <a:pt x="767" y="953"/>
                      <a:pt x="767" y="953"/>
                      <a:pt x="767" y="953"/>
                    </a:cubicBezTo>
                    <a:cubicBezTo>
                      <a:pt x="846" y="927"/>
                      <a:pt x="903" y="852"/>
                      <a:pt x="903" y="764"/>
                    </a:cubicBezTo>
                    <a:cubicBezTo>
                      <a:pt x="903" y="655"/>
                      <a:pt x="814" y="566"/>
                      <a:pt x="704" y="566"/>
                    </a:cubicBezTo>
                    <a:cubicBezTo>
                      <a:pt x="595" y="566"/>
                      <a:pt x="506" y="655"/>
                      <a:pt x="506" y="764"/>
                    </a:cubicBezTo>
                    <a:cubicBezTo>
                      <a:pt x="506" y="851"/>
                      <a:pt x="561" y="925"/>
                      <a:pt x="639" y="952"/>
                    </a:cubicBezTo>
                    <a:cubicBezTo>
                      <a:pt x="639" y="1297"/>
                      <a:pt x="639" y="1297"/>
                      <a:pt x="639" y="1297"/>
                    </a:cubicBezTo>
                    <a:cubicBezTo>
                      <a:pt x="561" y="1324"/>
                      <a:pt x="506" y="1398"/>
                      <a:pt x="506" y="1484"/>
                    </a:cubicBezTo>
                    <a:cubicBezTo>
                      <a:pt x="506" y="1594"/>
                      <a:pt x="595" y="1683"/>
                      <a:pt x="704" y="1683"/>
                    </a:cubicBezTo>
                    <a:cubicBezTo>
                      <a:pt x="814" y="1683"/>
                      <a:pt x="903" y="1594"/>
                      <a:pt x="903" y="1484"/>
                    </a:cubicBezTo>
                    <a:cubicBezTo>
                      <a:pt x="903" y="1397"/>
                      <a:pt x="846" y="1322"/>
                      <a:pt x="767" y="1296"/>
                    </a:cubicBezTo>
                    <a:cubicBezTo>
                      <a:pt x="767" y="1191"/>
                      <a:pt x="767" y="1191"/>
                      <a:pt x="767" y="1191"/>
                    </a:cubicBezTo>
                    <a:cubicBezTo>
                      <a:pt x="1362" y="1191"/>
                      <a:pt x="1362" y="1191"/>
                      <a:pt x="1362" y="1191"/>
                    </a:cubicBezTo>
                    <a:cubicBezTo>
                      <a:pt x="1683" y="870"/>
                      <a:pt x="1683" y="870"/>
                      <a:pt x="1683" y="870"/>
                    </a:cubicBezTo>
                    <a:cubicBezTo>
                      <a:pt x="1683" y="390"/>
                      <a:pt x="1683" y="390"/>
                      <a:pt x="1683" y="390"/>
                    </a:cubicBezTo>
                    <a:cubicBezTo>
                      <a:pt x="1768" y="367"/>
                      <a:pt x="1830" y="290"/>
                      <a:pt x="1830" y="198"/>
                    </a:cubicBezTo>
                    <a:cubicBezTo>
                      <a:pt x="1830" y="89"/>
                      <a:pt x="1740" y="0"/>
                      <a:pt x="1631" y="0"/>
                    </a:cubicBezTo>
                    <a:cubicBezTo>
                      <a:pt x="1544" y="0"/>
                      <a:pt x="1469" y="56"/>
                      <a:pt x="1443" y="134"/>
                    </a:cubicBezTo>
                    <a:cubicBezTo>
                      <a:pt x="1347" y="134"/>
                      <a:pt x="1347" y="134"/>
                      <a:pt x="1347" y="134"/>
                    </a:cubicBezTo>
                    <a:cubicBezTo>
                      <a:pt x="1320" y="56"/>
                      <a:pt x="1246" y="0"/>
                      <a:pt x="1159" y="0"/>
                    </a:cubicBezTo>
                    <a:cubicBezTo>
                      <a:pt x="1049" y="0"/>
                      <a:pt x="960" y="89"/>
                      <a:pt x="960" y="198"/>
                    </a:cubicBezTo>
                    <a:cubicBezTo>
                      <a:pt x="960" y="308"/>
                      <a:pt x="1049" y="397"/>
                      <a:pt x="1159" y="397"/>
                    </a:cubicBezTo>
                    <a:close/>
                    <a:moveTo>
                      <a:pt x="775" y="1484"/>
                    </a:moveTo>
                    <a:cubicBezTo>
                      <a:pt x="775" y="1523"/>
                      <a:pt x="743" y="1555"/>
                      <a:pt x="704" y="1555"/>
                    </a:cubicBezTo>
                    <a:cubicBezTo>
                      <a:pt x="665" y="1555"/>
                      <a:pt x="634" y="1523"/>
                      <a:pt x="634" y="1484"/>
                    </a:cubicBezTo>
                    <a:cubicBezTo>
                      <a:pt x="634" y="1445"/>
                      <a:pt x="665" y="1414"/>
                      <a:pt x="704" y="1414"/>
                    </a:cubicBezTo>
                    <a:cubicBezTo>
                      <a:pt x="743" y="1414"/>
                      <a:pt x="775" y="1445"/>
                      <a:pt x="775" y="1484"/>
                    </a:cubicBezTo>
                    <a:close/>
                    <a:moveTo>
                      <a:pt x="704" y="835"/>
                    </a:moveTo>
                    <a:cubicBezTo>
                      <a:pt x="665" y="835"/>
                      <a:pt x="634" y="803"/>
                      <a:pt x="634" y="764"/>
                    </a:cubicBezTo>
                    <a:cubicBezTo>
                      <a:pt x="634" y="725"/>
                      <a:pt x="665" y="694"/>
                      <a:pt x="704" y="694"/>
                    </a:cubicBezTo>
                    <a:cubicBezTo>
                      <a:pt x="743" y="694"/>
                      <a:pt x="775" y="725"/>
                      <a:pt x="775" y="764"/>
                    </a:cubicBezTo>
                    <a:cubicBezTo>
                      <a:pt x="775" y="803"/>
                      <a:pt x="743" y="835"/>
                      <a:pt x="704" y="835"/>
                    </a:cubicBezTo>
                    <a:close/>
                    <a:moveTo>
                      <a:pt x="1631" y="128"/>
                    </a:moveTo>
                    <a:cubicBezTo>
                      <a:pt x="1670" y="128"/>
                      <a:pt x="1702" y="159"/>
                      <a:pt x="1702" y="198"/>
                    </a:cubicBezTo>
                    <a:cubicBezTo>
                      <a:pt x="1702" y="237"/>
                      <a:pt x="1670" y="269"/>
                      <a:pt x="1631" y="269"/>
                    </a:cubicBezTo>
                    <a:cubicBezTo>
                      <a:pt x="1592" y="269"/>
                      <a:pt x="1560" y="237"/>
                      <a:pt x="1560" y="198"/>
                    </a:cubicBezTo>
                    <a:cubicBezTo>
                      <a:pt x="1560" y="159"/>
                      <a:pt x="1592" y="128"/>
                      <a:pt x="1631" y="128"/>
                    </a:cubicBezTo>
                    <a:close/>
                    <a:moveTo>
                      <a:pt x="1159" y="128"/>
                    </a:moveTo>
                    <a:cubicBezTo>
                      <a:pt x="1198" y="128"/>
                      <a:pt x="1230" y="159"/>
                      <a:pt x="1230" y="198"/>
                    </a:cubicBezTo>
                    <a:cubicBezTo>
                      <a:pt x="1230" y="237"/>
                      <a:pt x="1198" y="269"/>
                      <a:pt x="1159" y="269"/>
                    </a:cubicBezTo>
                    <a:cubicBezTo>
                      <a:pt x="1120" y="269"/>
                      <a:pt x="1088" y="237"/>
                      <a:pt x="1088" y="198"/>
                    </a:cubicBezTo>
                    <a:cubicBezTo>
                      <a:pt x="1088" y="159"/>
                      <a:pt x="1120" y="128"/>
                      <a:pt x="1159" y="128"/>
                    </a:cubicBezTo>
                    <a:close/>
                    <a:moveTo>
                      <a:pt x="1681" y="1799"/>
                    </a:moveTo>
                    <a:cubicBezTo>
                      <a:pt x="1681" y="1675"/>
                      <a:pt x="1681" y="1675"/>
                      <a:pt x="1681" y="1675"/>
                    </a:cubicBezTo>
                    <a:cubicBezTo>
                      <a:pt x="1763" y="1650"/>
                      <a:pt x="1823" y="1574"/>
                      <a:pt x="1823" y="1484"/>
                    </a:cubicBezTo>
                    <a:cubicBezTo>
                      <a:pt x="1823" y="1375"/>
                      <a:pt x="1734" y="1286"/>
                      <a:pt x="1624" y="1286"/>
                    </a:cubicBezTo>
                    <a:cubicBezTo>
                      <a:pt x="1514" y="1286"/>
                      <a:pt x="1425" y="1375"/>
                      <a:pt x="1425" y="1484"/>
                    </a:cubicBezTo>
                    <a:cubicBezTo>
                      <a:pt x="1425" y="1569"/>
                      <a:pt x="1478" y="1641"/>
                      <a:pt x="1553" y="1670"/>
                    </a:cubicBezTo>
                    <a:cubicBezTo>
                      <a:pt x="1553" y="1814"/>
                      <a:pt x="1553" y="1814"/>
                      <a:pt x="1553" y="1814"/>
                    </a:cubicBezTo>
                    <a:cubicBezTo>
                      <a:pt x="1507" y="1836"/>
                      <a:pt x="1472" y="1874"/>
                      <a:pt x="1453" y="1922"/>
                    </a:cubicBezTo>
                    <a:cubicBezTo>
                      <a:pt x="1362" y="1922"/>
                      <a:pt x="1362" y="1922"/>
                      <a:pt x="1362" y="1922"/>
                    </a:cubicBezTo>
                    <a:cubicBezTo>
                      <a:pt x="1333" y="1847"/>
                      <a:pt x="1261" y="1794"/>
                      <a:pt x="1177" y="1794"/>
                    </a:cubicBezTo>
                    <a:cubicBezTo>
                      <a:pt x="1067" y="1794"/>
                      <a:pt x="978" y="1883"/>
                      <a:pt x="978" y="1993"/>
                    </a:cubicBezTo>
                    <a:cubicBezTo>
                      <a:pt x="978" y="2103"/>
                      <a:pt x="1067" y="2192"/>
                      <a:pt x="1177" y="2192"/>
                    </a:cubicBezTo>
                    <a:cubicBezTo>
                      <a:pt x="1266" y="2192"/>
                      <a:pt x="1343" y="2132"/>
                      <a:pt x="1367" y="2050"/>
                    </a:cubicBezTo>
                    <a:cubicBezTo>
                      <a:pt x="1448" y="2050"/>
                      <a:pt x="1448" y="2050"/>
                      <a:pt x="1448" y="2050"/>
                    </a:cubicBezTo>
                    <a:cubicBezTo>
                      <a:pt x="1473" y="2132"/>
                      <a:pt x="1549" y="2192"/>
                      <a:pt x="1639" y="2192"/>
                    </a:cubicBezTo>
                    <a:cubicBezTo>
                      <a:pt x="1748" y="2192"/>
                      <a:pt x="1838" y="2103"/>
                      <a:pt x="1838" y="1993"/>
                    </a:cubicBezTo>
                    <a:cubicBezTo>
                      <a:pt x="1838" y="1898"/>
                      <a:pt x="1770" y="1818"/>
                      <a:pt x="1681" y="1799"/>
                    </a:cubicBezTo>
                    <a:close/>
                    <a:moveTo>
                      <a:pt x="1177" y="2064"/>
                    </a:moveTo>
                    <a:cubicBezTo>
                      <a:pt x="1138" y="2064"/>
                      <a:pt x="1106" y="2032"/>
                      <a:pt x="1106" y="1993"/>
                    </a:cubicBezTo>
                    <a:cubicBezTo>
                      <a:pt x="1106" y="1954"/>
                      <a:pt x="1138" y="1922"/>
                      <a:pt x="1177" y="1922"/>
                    </a:cubicBezTo>
                    <a:cubicBezTo>
                      <a:pt x="1216" y="1922"/>
                      <a:pt x="1247" y="1954"/>
                      <a:pt x="1247" y="1993"/>
                    </a:cubicBezTo>
                    <a:cubicBezTo>
                      <a:pt x="1247" y="2032"/>
                      <a:pt x="1216" y="2064"/>
                      <a:pt x="1177" y="2064"/>
                    </a:cubicBezTo>
                    <a:close/>
                    <a:moveTo>
                      <a:pt x="1624" y="1414"/>
                    </a:moveTo>
                    <a:cubicBezTo>
                      <a:pt x="1663" y="1414"/>
                      <a:pt x="1695" y="1445"/>
                      <a:pt x="1695" y="1484"/>
                    </a:cubicBezTo>
                    <a:cubicBezTo>
                      <a:pt x="1695" y="1523"/>
                      <a:pt x="1663" y="1555"/>
                      <a:pt x="1624" y="1555"/>
                    </a:cubicBezTo>
                    <a:cubicBezTo>
                      <a:pt x="1585" y="1555"/>
                      <a:pt x="1553" y="1523"/>
                      <a:pt x="1553" y="1484"/>
                    </a:cubicBezTo>
                    <a:cubicBezTo>
                      <a:pt x="1553" y="1445"/>
                      <a:pt x="1585" y="1414"/>
                      <a:pt x="1624" y="1414"/>
                    </a:cubicBezTo>
                    <a:close/>
                    <a:moveTo>
                      <a:pt x="1639" y="2064"/>
                    </a:moveTo>
                    <a:cubicBezTo>
                      <a:pt x="1600" y="2064"/>
                      <a:pt x="1568" y="2032"/>
                      <a:pt x="1568" y="1993"/>
                    </a:cubicBezTo>
                    <a:cubicBezTo>
                      <a:pt x="1568" y="1954"/>
                      <a:pt x="1600" y="1922"/>
                      <a:pt x="1639" y="1922"/>
                    </a:cubicBezTo>
                    <a:cubicBezTo>
                      <a:pt x="1678" y="1922"/>
                      <a:pt x="1710" y="1954"/>
                      <a:pt x="1710" y="1993"/>
                    </a:cubicBezTo>
                    <a:cubicBezTo>
                      <a:pt x="1710" y="2032"/>
                      <a:pt x="1678" y="2064"/>
                      <a:pt x="1639" y="2064"/>
                    </a:cubicBezTo>
                    <a:close/>
                    <a:moveTo>
                      <a:pt x="1133" y="1678"/>
                    </a:moveTo>
                    <a:cubicBezTo>
                      <a:pt x="1147" y="1681"/>
                      <a:pt x="1162" y="1683"/>
                      <a:pt x="1177" y="1683"/>
                    </a:cubicBezTo>
                    <a:cubicBezTo>
                      <a:pt x="1286" y="1683"/>
                      <a:pt x="1375" y="1594"/>
                      <a:pt x="1375" y="1484"/>
                    </a:cubicBezTo>
                    <a:cubicBezTo>
                      <a:pt x="1375" y="1375"/>
                      <a:pt x="1286" y="1286"/>
                      <a:pt x="1177" y="1286"/>
                    </a:cubicBezTo>
                    <a:cubicBezTo>
                      <a:pt x="1067" y="1286"/>
                      <a:pt x="978" y="1375"/>
                      <a:pt x="978" y="1484"/>
                    </a:cubicBezTo>
                    <a:cubicBezTo>
                      <a:pt x="978" y="1531"/>
                      <a:pt x="994" y="1575"/>
                      <a:pt x="1022" y="1609"/>
                    </a:cubicBezTo>
                    <a:cubicBezTo>
                      <a:pt x="807" y="1823"/>
                      <a:pt x="807" y="1823"/>
                      <a:pt x="807" y="1823"/>
                    </a:cubicBezTo>
                    <a:cubicBezTo>
                      <a:pt x="777" y="1805"/>
                      <a:pt x="742" y="1794"/>
                      <a:pt x="704" y="1794"/>
                    </a:cubicBezTo>
                    <a:cubicBezTo>
                      <a:pt x="620" y="1794"/>
                      <a:pt x="548" y="1847"/>
                      <a:pt x="519" y="1922"/>
                    </a:cubicBezTo>
                    <a:cubicBezTo>
                      <a:pt x="384" y="1922"/>
                      <a:pt x="384" y="1922"/>
                      <a:pt x="384" y="1922"/>
                    </a:cubicBezTo>
                    <a:cubicBezTo>
                      <a:pt x="366" y="1874"/>
                      <a:pt x="330" y="1836"/>
                      <a:pt x="285" y="1814"/>
                    </a:cubicBezTo>
                    <a:cubicBezTo>
                      <a:pt x="285" y="950"/>
                      <a:pt x="285" y="950"/>
                      <a:pt x="285" y="950"/>
                    </a:cubicBezTo>
                    <a:cubicBezTo>
                      <a:pt x="359" y="921"/>
                      <a:pt x="412" y="849"/>
                      <a:pt x="412" y="764"/>
                    </a:cubicBezTo>
                    <a:cubicBezTo>
                      <a:pt x="412" y="655"/>
                      <a:pt x="323" y="566"/>
                      <a:pt x="214" y="566"/>
                    </a:cubicBezTo>
                    <a:cubicBezTo>
                      <a:pt x="104" y="566"/>
                      <a:pt x="15" y="655"/>
                      <a:pt x="15" y="764"/>
                    </a:cubicBezTo>
                    <a:cubicBezTo>
                      <a:pt x="15" y="854"/>
                      <a:pt x="75" y="930"/>
                      <a:pt x="157" y="955"/>
                    </a:cubicBezTo>
                    <a:cubicBezTo>
                      <a:pt x="157" y="1799"/>
                      <a:pt x="157" y="1799"/>
                      <a:pt x="157" y="1799"/>
                    </a:cubicBezTo>
                    <a:cubicBezTo>
                      <a:pt x="67" y="1818"/>
                      <a:pt x="0" y="1898"/>
                      <a:pt x="0" y="1993"/>
                    </a:cubicBezTo>
                    <a:cubicBezTo>
                      <a:pt x="0" y="2103"/>
                      <a:pt x="89" y="2192"/>
                      <a:pt x="199" y="2192"/>
                    </a:cubicBezTo>
                    <a:cubicBezTo>
                      <a:pt x="289" y="2192"/>
                      <a:pt x="365" y="2132"/>
                      <a:pt x="389" y="2050"/>
                    </a:cubicBezTo>
                    <a:cubicBezTo>
                      <a:pt x="514" y="2050"/>
                      <a:pt x="514" y="2050"/>
                      <a:pt x="514" y="2050"/>
                    </a:cubicBezTo>
                    <a:cubicBezTo>
                      <a:pt x="538" y="2132"/>
                      <a:pt x="615" y="2192"/>
                      <a:pt x="704" y="2192"/>
                    </a:cubicBezTo>
                    <a:cubicBezTo>
                      <a:pt x="814" y="2192"/>
                      <a:pt x="903" y="2103"/>
                      <a:pt x="903" y="1993"/>
                    </a:cubicBezTo>
                    <a:cubicBezTo>
                      <a:pt x="903" y="1968"/>
                      <a:pt x="898" y="1944"/>
                      <a:pt x="890" y="1922"/>
                    </a:cubicBezTo>
                    <a:lnTo>
                      <a:pt x="1133" y="1678"/>
                    </a:lnTo>
                    <a:close/>
                    <a:moveTo>
                      <a:pt x="1177" y="1414"/>
                    </a:moveTo>
                    <a:cubicBezTo>
                      <a:pt x="1216" y="1414"/>
                      <a:pt x="1247" y="1445"/>
                      <a:pt x="1247" y="1484"/>
                    </a:cubicBezTo>
                    <a:cubicBezTo>
                      <a:pt x="1247" y="1523"/>
                      <a:pt x="1216" y="1555"/>
                      <a:pt x="1177" y="1555"/>
                    </a:cubicBezTo>
                    <a:cubicBezTo>
                      <a:pt x="1138" y="1555"/>
                      <a:pt x="1106" y="1523"/>
                      <a:pt x="1106" y="1484"/>
                    </a:cubicBezTo>
                    <a:cubicBezTo>
                      <a:pt x="1106" y="1445"/>
                      <a:pt x="1138" y="1414"/>
                      <a:pt x="1177" y="1414"/>
                    </a:cubicBezTo>
                    <a:close/>
                    <a:moveTo>
                      <a:pt x="199" y="2064"/>
                    </a:moveTo>
                    <a:cubicBezTo>
                      <a:pt x="160" y="2064"/>
                      <a:pt x="128" y="2032"/>
                      <a:pt x="128" y="1993"/>
                    </a:cubicBezTo>
                    <a:cubicBezTo>
                      <a:pt x="128" y="1954"/>
                      <a:pt x="160" y="1922"/>
                      <a:pt x="199" y="1922"/>
                    </a:cubicBezTo>
                    <a:cubicBezTo>
                      <a:pt x="238" y="1922"/>
                      <a:pt x="270" y="1954"/>
                      <a:pt x="270" y="1993"/>
                    </a:cubicBezTo>
                    <a:cubicBezTo>
                      <a:pt x="270" y="2032"/>
                      <a:pt x="238" y="2064"/>
                      <a:pt x="199" y="2064"/>
                    </a:cubicBezTo>
                    <a:close/>
                    <a:moveTo>
                      <a:pt x="214" y="835"/>
                    </a:moveTo>
                    <a:cubicBezTo>
                      <a:pt x="175" y="835"/>
                      <a:pt x="143" y="803"/>
                      <a:pt x="143" y="764"/>
                    </a:cubicBezTo>
                    <a:cubicBezTo>
                      <a:pt x="143" y="725"/>
                      <a:pt x="175" y="694"/>
                      <a:pt x="214" y="694"/>
                    </a:cubicBezTo>
                    <a:cubicBezTo>
                      <a:pt x="253" y="694"/>
                      <a:pt x="284" y="725"/>
                      <a:pt x="284" y="764"/>
                    </a:cubicBezTo>
                    <a:cubicBezTo>
                      <a:pt x="284" y="803"/>
                      <a:pt x="253" y="835"/>
                      <a:pt x="214" y="835"/>
                    </a:cubicBezTo>
                    <a:close/>
                    <a:moveTo>
                      <a:pt x="704" y="2064"/>
                    </a:moveTo>
                    <a:cubicBezTo>
                      <a:pt x="665" y="2064"/>
                      <a:pt x="634" y="2032"/>
                      <a:pt x="634" y="1993"/>
                    </a:cubicBezTo>
                    <a:cubicBezTo>
                      <a:pt x="634" y="1954"/>
                      <a:pt x="665" y="1922"/>
                      <a:pt x="704" y="1922"/>
                    </a:cubicBezTo>
                    <a:cubicBezTo>
                      <a:pt x="743" y="1922"/>
                      <a:pt x="775" y="1954"/>
                      <a:pt x="775" y="1993"/>
                    </a:cubicBezTo>
                    <a:cubicBezTo>
                      <a:pt x="775" y="2032"/>
                      <a:pt x="743" y="2064"/>
                      <a:pt x="704" y="2064"/>
                    </a:cubicBezTo>
                    <a:close/>
                  </a:path>
                </a:pathLst>
              </a:custGeom>
              <a:solidFill>
                <a:srgbClr val="F4F3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dirty="0"/>
              </a:p>
            </p:txBody>
          </p:sp>
        </p:grpSp>
      </p:grpSp>
      <p:sp>
        <p:nvSpPr>
          <p:cNvPr id="215" name="Rectangle 54"/>
          <p:cNvSpPr/>
          <p:nvPr/>
        </p:nvSpPr>
        <p:spPr>
          <a:xfrm>
            <a:off x="1031433" y="2588702"/>
            <a:ext cx="5077374" cy="4658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6" name="Rectangle 16"/>
          <p:cNvSpPr/>
          <p:nvPr/>
        </p:nvSpPr>
        <p:spPr>
          <a:xfrm>
            <a:off x="1139391" y="2664779"/>
            <a:ext cx="49856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GB" sz="1400" dirty="0"/>
              <a:t>Overcoming market and process </a:t>
            </a:r>
            <a:r>
              <a:rPr lang="en-GB" sz="1400" dirty="0" smtClean="0"/>
              <a:t>inefficiencies </a:t>
            </a:r>
            <a:r>
              <a:rPr lang="en-GB" sz="1400" dirty="0"/>
              <a:t>-  more automation </a:t>
            </a:r>
          </a:p>
        </p:txBody>
      </p:sp>
      <p:grpSp>
        <p:nvGrpSpPr>
          <p:cNvPr id="217" name="Gruppe 216"/>
          <p:cNvGrpSpPr/>
          <p:nvPr/>
        </p:nvGrpSpPr>
        <p:grpSpPr>
          <a:xfrm>
            <a:off x="629765" y="2579242"/>
            <a:ext cx="525879" cy="478852"/>
            <a:chOff x="272714" y="2582919"/>
            <a:chExt cx="695302" cy="656823"/>
          </a:xfrm>
        </p:grpSpPr>
        <p:sp>
          <p:nvSpPr>
            <p:cNvPr id="218" name="Rounded Rectangle 12"/>
            <p:cNvSpPr/>
            <p:nvPr/>
          </p:nvSpPr>
          <p:spPr>
            <a:xfrm>
              <a:off x="272714" y="2582919"/>
              <a:ext cx="695302" cy="656823"/>
            </a:xfrm>
            <a:prstGeom prst="roundRect">
              <a:avLst>
                <a:gd name="adj" fmla="val 7844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19" name="Straight Connector 35"/>
            <p:cNvCxnSpPr/>
            <p:nvPr/>
          </p:nvCxnSpPr>
          <p:spPr>
            <a:xfrm>
              <a:off x="330512" y="2721366"/>
              <a:ext cx="302654" cy="0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rgbClr val="F4F3F0"/>
              </a:solidFill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0" name="Straight Connector 36"/>
            <p:cNvCxnSpPr/>
            <p:nvPr/>
          </p:nvCxnSpPr>
          <p:spPr>
            <a:xfrm>
              <a:off x="330512" y="2816348"/>
              <a:ext cx="302654" cy="0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rgbClr val="F4F3F0"/>
              </a:solidFill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1" name="Straight Connector 37"/>
            <p:cNvCxnSpPr/>
            <p:nvPr/>
          </p:nvCxnSpPr>
          <p:spPr>
            <a:xfrm>
              <a:off x="330512" y="2911330"/>
              <a:ext cx="302654" cy="0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rgbClr val="F4F3F0"/>
              </a:solidFill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2" name="Straight Connector 38"/>
            <p:cNvCxnSpPr/>
            <p:nvPr/>
          </p:nvCxnSpPr>
          <p:spPr>
            <a:xfrm>
              <a:off x="330512" y="3006312"/>
              <a:ext cx="302654" cy="0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rgbClr val="F4F3F0"/>
              </a:solidFill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3" name="Straight Connector 39"/>
            <p:cNvCxnSpPr/>
            <p:nvPr/>
          </p:nvCxnSpPr>
          <p:spPr>
            <a:xfrm>
              <a:off x="330512" y="3101293"/>
              <a:ext cx="302654" cy="0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rgbClr val="F4F3F0"/>
              </a:solidFill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4" name="Straight Connector 40"/>
            <p:cNvCxnSpPr/>
            <p:nvPr/>
          </p:nvCxnSpPr>
          <p:spPr>
            <a:xfrm flipV="1">
              <a:off x="681462" y="2692389"/>
              <a:ext cx="0" cy="453981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rgbClr val="F4F3F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25" name="Right Arrow 42"/>
            <p:cNvSpPr/>
            <p:nvPr/>
          </p:nvSpPr>
          <p:spPr>
            <a:xfrm>
              <a:off x="729759" y="2819568"/>
              <a:ext cx="193183" cy="185134"/>
            </a:xfrm>
            <a:prstGeom prst="rightArrow">
              <a:avLst/>
            </a:prstGeom>
            <a:solidFill>
              <a:srgbClr val="F4F3F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73" name="Rectangle 53"/>
          <p:cNvSpPr/>
          <p:nvPr/>
        </p:nvSpPr>
        <p:spPr>
          <a:xfrm>
            <a:off x="1108505" y="1188829"/>
            <a:ext cx="4993587" cy="4924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4" name="Rounded Rectangle 11"/>
          <p:cNvSpPr/>
          <p:nvPr/>
        </p:nvSpPr>
        <p:spPr>
          <a:xfrm>
            <a:off x="623049" y="1181757"/>
            <a:ext cx="511992" cy="499506"/>
          </a:xfrm>
          <a:prstGeom prst="roundRect">
            <a:avLst>
              <a:gd name="adj" fmla="val 7844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5" name="Rectangle 15"/>
          <p:cNvSpPr/>
          <p:nvPr/>
        </p:nvSpPr>
        <p:spPr>
          <a:xfrm>
            <a:off x="1108505" y="1298483"/>
            <a:ext cx="51582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/>
              <a:t>Datahub as common data interface between DSO's and the market</a:t>
            </a:r>
          </a:p>
        </p:txBody>
      </p:sp>
      <p:grpSp>
        <p:nvGrpSpPr>
          <p:cNvPr id="46" name="Gruppe 45"/>
          <p:cNvGrpSpPr/>
          <p:nvPr/>
        </p:nvGrpSpPr>
        <p:grpSpPr>
          <a:xfrm>
            <a:off x="654991" y="1244977"/>
            <a:ext cx="434113" cy="375517"/>
            <a:chOff x="5997214" y="3897051"/>
            <a:chExt cx="1007215" cy="1007215"/>
          </a:xfrm>
        </p:grpSpPr>
        <p:sp>
          <p:nvSpPr>
            <p:cNvPr id="43" name="Pil mot venstre og høyre 42"/>
            <p:cNvSpPr/>
            <p:nvPr/>
          </p:nvSpPr>
          <p:spPr>
            <a:xfrm>
              <a:off x="5997214" y="4339144"/>
              <a:ext cx="1007215" cy="159013"/>
            </a:xfrm>
            <a:prstGeom prst="leftRightArrow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2" name="Pil mot venstre og høyre 291"/>
            <p:cNvSpPr/>
            <p:nvPr/>
          </p:nvSpPr>
          <p:spPr>
            <a:xfrm rot="5400000">
              <a:off x="6004833" y="4321152"/>
              <a:ext cx="1007215" cy="159013"/>
            </a:xfrm>
            <a:prstGeom prst="leftRightArrow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45" name="Gruppe 44"/>
            <p:cNvGrpSpPr/>
            <p:nvPr/>
          </p:nvGrpSpPr>
          <p:grpSpPr>
            <a:xfrm>
              <a:off x="6298889" y="4175266"/>
              <a:ext cx="419101" cy="450784"/>
              <a:chOff x="6284264" y="4204717"/>
              <a:chExt cx="419101" cy="450784"/>
            </a:xfrm>
          </p:grpSpPr>
          <p:sp>
            <p:nvSpPr>
              <p:cNvPr id="39" name="Magnetplate 38"/>
              <p:cNvSpPr/>
              <p:nvPr/>
            </p:nvSpPr>
            <p:spPr>
              <a:xfrm>
                <a:off x="6284264" y="4220842"/>
                <a:ext cx="419100" cy="434659"/>
              </a:xfrm>
              <a:prstGeom prst="flowChartMagneticDisk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42" name="Ellipse 41"/>
              <p:cNvSpPr/>
              <p:nvPr/>
            </p:nvSpPr>
            <p:spPr>
              <a:xfrm>
                <a:off x="6284265" y="4204717"/>
                <a:ext cx="419100" cy="19018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93" name="Rectangle 51"/>
          <p:cNvSpPr/>
          <p:nvPr/>
        </p:nvSpPr>
        <p:spPr>
          <a:xfrm>
            <a:off x="1093690" y="3995865"/>
            <a:ext cx="5008402" cy="4975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4" name="Rounded Rectangle 56"/>
          <p:cNvSpPr/>
          <p:nvPr/>
        </p:nvSpPr>
        <p:spPr>
          <a:xfrm>
            <a:off x="623050" y="3995963"/>
            <a:ext cx="529551" cy="497485"/>
          </a:xfrm>
          <a:prstGeom prst="roundRect">
            <a:avLst>
              <a:gd name="adj" fmla="val 7844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5" name="Rectangle 57"/>
          <p:cNvSpPr/>
          <p:nvPr/>
        </p:nvSpPr>
        <p:spPr>
          <a:xfrm>
            <a:off x="1156020" y="4090766"/>
            <a:ext cx="49623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Enabler for further innovations  both at market and end-users </a:t>
            </a:r>
          </a:p>
        </p:txBody>
      </p:sp>
      <p:grpSp>
        <p:nvGrpSpPr>
          <p:cNvPr id="54" name="Gruppe 53"/>
          <p:cNvGrpSpPr/>
          <p:nvPr/>
        </p:nvGrpSpPr>
        <p:grpSpPr>
          <a:xfrm>
            <a:off x="702762" y="4061352"/>
            <a:ext cx="384212" cy="366606"/>
            <a:chOff x="5782425" y="3500308"/>
            <a:chExt cx="384212" cy="366606"/>
          </a:xfrm>
        </p:grpSpPr>
        <p:sp>
          <p:nvSpPr>
            <p:cNvPr id="297" name="Freeform 18"/>
            <p:cNvSpPr>
              <a:spLocks/>
            </p:cNvSpPr>
            <p:nvPr/>
          </p:nvSpPr>
          <p:spPr bwMode="auto">
            <a:xfrm>
              <a:off x="5998154" y="3595321"/>
              <a:ext cx="168483" cy="176580"/>
            </a:xfrm>
            <a:custGeom>
              <a:avLst/>
              <a:gdLst>
                <a:gd name="T0" fmla="*/ 896 w 896"/>
                <a:gd name="T1" fmla="*/ 434 h 936"/>
                <a:gd name="T2" fmla="*/ 896 w 896"/>
                <a:gd name="T3" fmla="*/ 514 h 936"/>
                <a:gd name="T4" fmla="*/ 596 w 896"/>
                <a:gd name="T5" fmla="*/ 898 h 936"/>
                <a:gd name="T6" fmla="*/ 212 w 896"/>
                <a:gd name="T7" fmla="*/ 922 h 936"/>
                <a:gd name="T8" fmla="*/ 0 w 896"/>
                <a:gd name="T9" fmla="*/ 858 h 936"/>
                <a:gd name="T10" fmla="*/ 208 w 896"/>
                <a:gd name="T11" fmla="*/ 794 h 936"/>
                <a:gd name="T12" fmla="*/ 484 w 896"/>
                <a:gd name="T13" fmla="*/ 794 h 936"/>
                <a:gd name="T14" fmla="*/ 768 w 896"/>
                <a:gd name="T15" fmla="*/ 450 h 936"/>
                <a:gd name="T16" fmla="*/ 484 w 896"/>
                <a:gd name="T17" fmla="*/ 154 h 936"/>
                <a:gd name="T18" fmla="*/ 212 w 896"/>
                <a:gd name="T19" fmla="*/ 154 h 936"/>
                <a:gd name="T20" fmla="*/ 0 w 896"/>
                <a:gd name="T21" fmla="*/ 90 h 936"/>
                <a:gd name="T22" fmla="*/ 276 w 896"/>
                <a:gd name="T23" fmla="*/ 26 h 936"/>
                <a:gd name="T24" fmla="*/ 592 w 896"/>
                <a:gd name="T25" fmla="*/ 50 h 936"/>
                <a:gd name="T26" fmla="*/ 896 w 896"/>
                <a:gd name="T27" fmla="*/ 434 h 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96" h="936">
                  <a:moveTo>
                    <a:pt x="896" y="434"/>
                  </a:moveTo>
                  <a:cubicBezTo>
                    <a:pt x="896" y="461"/>
                    <a:pt x="896" y="487"/>
                    <a:pt x="896" y="514"/>
                  </a:cubicBezTo>
                  <a:cubicBezTo>
                    <a:pt x="874" y="703"/>
                    <a:pt x="749" y="845"/>
                    <a:pt x="596" y="898"/>
                  </a:cubicBezTo>
                  <a:cubicBezTo>
                    <a:pt x="499" y="932"/>
                    <a:pt x="354" y="922"/>
                    <a:pt x="212" y="922"/>
                  </a:cubicBezTo>
                  <a:cubicBezTo>
                    <a:pt x="110" y="922"/>
                    <a:pt x="0" y="936"/>
                    <a:pt x="0" y="858"/>
                  </a:cubicBezTo>
                  <a:cubicBezTo>
                    <a:pt x="0" y="780"/>
                    <a:pt x="112" y="794"/>
                    <a:pt x="208" y="794"/>
                  </a:cubicBezTo>
                  <a:cubicBezTo>
                    <a:pt x="278" y="794"/>
                    <a:pt x="388" y="804"/>
                    <a:pt x="484" y="794"/>
                  </a:cubicBezTo>
                  <a:cubicBezTo>
                    <a:pt x="653" y="776"/>
                    <a:pt x="781" y="629"/>
                    <a:pt x="768" y="450"/>
                  </a:cubicBezTo>
                  <a:cubicBezTo>
                    <a:pt x="757" y="296"/>
                    <a:pt x="640" y="171"/>
                    <a:pt x="484" y="154"/>
                  </a:cubicBezTo>
                  <a:cubicBezTo>
                    <a:pt x="402" y="145"/>
                    <a:pt x="280" y="154"/>
                    <a:pt x="212" y="154"/>
                  </a:cubicBezTo>
                  <a:cubicBezTo>
                    <a:pt x="125" y="154"/>
                    <a:pt x="0" y="173"/>
                    <a:pt x="0" y="90"/>
                  </a:cubicBezTo>
                  <a:cubicBezTo>
                    <a:pt x="0" y="0"/>
                    <a:pt x="169" y="26"/>
                    <a:pt x="276" y="26"/>
                  </a:cubicBezTo>
                  <a:cubicBezTo>
                    <a:pt x="404" y="26"/>
                    <a:pt x="510" y="22"/>
                    <a:pt x="592" y="50"/>
                  </a:cubicBezTo>
                  <a:cubicBezTo>
                    <a:pt x="752" y="105"/>
                    <a:pt x="875" y="249"/>
                    <a:pt x="896" y="4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19"/>
            <p:cNvSpPr>
              <a:spLocks/>
            </p:cNvSpPr>
            <p:nvPr/>
          </p:nvSpPr>
          <p:spPr bwMode="auto">
            <a:xfrm>
              <a:off x="6010634" y="3785347"/>
              <a:ext cx="52595" cy="56470"/>
            </a:xfrm>
            <a:custGeom>
              <a:avLst/>
              <a:gdLst>
                <a:gd name="T0" fmla="*/ 194 w 284"/>
                <a:gd name="T1" fmla="*/ 104 h 296"/>
                <a:gd name="T2" fmla="*/ 282 w 284"/>
                <a:gd name="T3" fmla="*/ 224 h 296"/>
                <a:gd name="T4" fmla="*/ 234 w 284"/>
                <a:gd name="T5" fmla="*/ 284 h 296"/>
                <a:gd name="T6" fmla="*/ 50 w 284"/>
                <a:gd name="T7" fmla="*/ 144 h 296"/>
                <a:gd name="T8" fmla="*/ 6 w 284"/>
                <a:gd name="T9" fmla="*/ 60 h 296"/>
                <a:gd name="T10" fmla="*/ 54 w 284"/>
                <a:gd name="T11" fmla="*/ 12 h 296"/>
                <a:gd name="T12" fmla="*/ 194 w 284"/>
                <a:gd name="T13" fmla="*/ 10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296">
                  <a:moveTo>
                    <a:pt x="194" y="104"/>
                  </a:moveTo>
                  <a:cubicBezTo>
                    <a:pt x="227" y="137"/>
                    <a:pt x="284" y="181"/>
                    <a:pt x="282" y="224"/>
                  </a:cubicBezTo>
                  <a:cubicBezTo>
                    <a:pt x="281" y="250"/>
                    <a:pt x="261" y="279"/>
                    <a:pt x="234" y="284"/>
                  </a:cubicBezTo>
                  <a:cubicBezTo>
                    <a:pt x="173" y="296"/>
                    <a:pt x="95" y="189"/>
                    <a:pt x="50" y="144"/>
                  </a:cubicBezTo>
                  <a:cubicBezTo>
                    <a:pt x="30" y="124"/>
                    <a:pt x="0" y="104"/>
                    <a:pt x="6" y="60"/>
                  </a:cubicBezTo>
                  <a:cubicBezTo>
                    <a:pt x="10" y="29"/>
                    <a:pt x="32" y="17"/>
                    <a:pt x="54" y="12"/>
                  </a:cubicBezTo>
                  <a:cubicBezTo>
                    <a:pt x="108" y="0"/>
                    <a:pt x="152" y="62"/>
                    <a:pt x="194" y="10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0"/>
            <p:cNvSpPr>
              <a:spLocks/>
            </p:cNvSpPr>
            <p:nvPr/>
          </p:nvSpPr>
          <p:spPr bwMode="auto">
            <a:xfrm>
              <a:off x="6010634" y="3528095"/>
              <a:ext cx="52595" cy="53781"/>
            </a:xfrm>
            <a:custGeom>
              <a:avLst/>
              <a:gdLst>
                <a:gd name="T0" fmla="*/ 192 w 282"/>
                <a:gd name="T1" fmla="*/ 12 h 286"/>
                <a:gd name="T2" fmla="*/ 276 w 282"/>
                <a:gd name="T3" fmla="*/ 80 h 286"/>
                <a:gd name="T4" fmla="*/ 180 w 282"/>
                <a:gd name="T5" fmla="*/ 192 h 286"/>
                <a:gd name="T6" fmla="*/ 68 w 282"/>
                <a:gd name="T7" fmla="*/ 284 h 286"/>
                <a:gd name="T8" fmla="*/ 0 w 282"/>
                <a:gd name="T9" fmla="*/ 220 h 286"/>
                <a:gd name="T10" fmla="*/ 84 w 282"/>
                <a:gd name="T11" fmla="*/ 112 h 286"/>
                <a:gd name="T12" fmla="*/ 192 w 282"/>
                <a:gd name="T13" fmla="*/ 12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" h="286">
                  <a:moveTo>
                    <a:pt x="192" y="12"/>
                  </a:moveTo>
                  <a:cubicBezTo>
                    <a:pt x="234" y="0"/>
                    <a:pt x="282" y="23"/>
                    <a:pt x="276" y="80"/>
                  </a:cubicBezTo>
                  <a:cubicBezTo>
                    <a:pt x="271" y="124"/>
                    <a:pt x="221" y="151"/>
                    <a:pt x="180" y="192"/>
                  </a:cubicBezTo>
                  <a:cubicBezTo>
                    <a:pt x="135" y="237"/>
                    <a:pt x="105" y="282"/>
                    <a:pt x="68" y="284"/>
                  </a:cubicBezTo>
                  <a:cubicBezTo>
                    <a:pt x="28" y="286"/>
                    <a:pt x="0" y="263"/>
                    <a:pt x="0" y="220"/>
                  </a:cubicBezTo>
                  <a:cubicBezTo>
                    <a:pt x="0" y="180"/>
                    <a:pt x="53" y="143"/>
                    <a:pt x="84" y="112"/>
                  </a:cubicBezTo>
                  <a:cubicBezTo>
                    <a:pt x="123" y="73"/>
                    <a:pt x="152" y="24"/>
                    <a:pt x="19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1"/>
            <p:cNvSpPr>
              <a:spLocks/>
            </p:cNvSpPr>
            <p:nvPr/>
          </p:nvSpPr>
          <p:spPr bwMode="auto">
            <a:xfrm>
              <a:off x="5960714" y="3790725"/>
              <a:ext cx="29418" cy="76189"/>
            </a:xfrm>
            <a:custGeom>
              <a:avLst/>
              <a:gdLst>
                <a:gd name="T0" fmla="*/ 67 w 160"/>
                <a:gd name="T1" fmla="*/ 20 h 404"/>
                <a:gd name="T2" fmla="*/ 147 w 160"/>
                <a:gd name="T3" fmla="*/ 208 h 404"/>
                <a:gd name="T4" fmla="*/ 87 w 160"/>
                <a:gd name="T5" fmla="*/ 400 h 404"/>
                <a:gd name="T6" fmla="*/ 19 w 160"/>
                <a:gd name="T7" fmla="*/ 208 h 404"/>
                <a:gd name="T8" fmla="*/ 67 w 160"/>
                <a:gd name="T9" fmla="*/ 2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404">
                  <a:moveTo>
                    <a:pt x="67" y="20"/>
                  </a:moveTo>
                  <a:cubicBezTo>
                    <a:pt x="155" y="0"/>
                    <a:pt x="147" y="98"/>
                    <a:pt x="147" y="208"/>
                  </a:cubicBezTo>
                  <a:cubicBezTo>
                    <a:pt x="147" y="301"/>
                    <a:pt x="160" y="396"/>
                    <a:pt x="87" y="400"/>
                  </a:cubicBezTo>
                  <a:cubicBezTo>
                    <a:pt x="3" y="404"/>
                    <a:pt x="19" y="307"/>
                    <a:pt x="19" y="208"/>
                  </a:cubicBezTo>
                  <a:cubicBezTo>
                    <a:pt x="19" y="112"/>
                    <a:pt x="0" y="35"/>
                    <a:pt x="6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22"/>
            <p:cNvSpPr>
              <a:spLocks/>
            </p:cNvSpPr>
            <p:nvPr/>
          </p:nvSpPr>
          <p:spPr bwMode="auto">
            <a:xfrm>
              <a:off x="5958931" y="3500308"/>
              <a:ext cx="30309" cy="76189"/>
            </a:xfrm>
            <a:custGeom>
              <a:avLst/>
              <a:gdLst>
                <a:gd name="T0" fmla="*/ 66 w 160"/>
                <a:gd name="T1" fmla="*/ 21 h 405"/>
                <a:gd name="T2" fmla="*/ 146 w 160"/>
                <a:gd name="T3" fmla="*/ 209 h 405"/>
                <a:gd name="T4" fmla="*/ 86 w 160"/>
                <a:gd name="T5" fmla="*/ 401 h 405"/>
                <a:gd name="T6" fmla="*/ 18 w 160"/>
                <a:gd name="T7" fmla="*/ 209 h 405"/>
                <a:gd name="T8" fmla="*/ 66 w 160"/>
                <a:gd name="T9" fmla="*/ 21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405">
                  <a:moveTo>
                    <a:pt x="66" y="21"/>
                  </a:moveTo>
                  <a:cubicBezTo>
                    <a:pt x="155" y="0"/>
                    <a:pt x="146" y="98"/>
                    <a:pt x="146" y="209"/>
                  </a:cubicBezTo>
                  <a:cubicBezTo>
                    <a:pt x="146" y="302"/>
                    <a:pt x="160" y="398"/>
                    <a:pt x="86" y="401"/>
                  </a:cubicBezTo>
                  <a:cubicBezTo>
                    <a:pt x="2" y="405"/>
                    <a:pt x="18" y="308"/>
                    <a:pt x="18" y="209"/>
                  </a:cubicBezTo>
                  <a:cubicBezTo>
                    <a:pt x="18" y="113"/>
                    <a:pt x="0" y="37"/>
                    <a:pt x="66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23"/>
            <p:cNvSpPr>
              <a:spLocks/>
            </p:cNvSpPr>
            <p:nvPr/>
          </p:nvSpPr>
          <p:spPr bwMode="auto">
            <a:xfrm>
              <a:off x="5887615" y="3787139"/>
              <a:ext cx="52595" cy="52884"/>
            </a:xfrm>
            <a:custGeom>
              <a:avLst/>
              <a:gdLst>
                <a:gd name="T0" fmla="*/ 280 w 282"/>
                <a:gd name="T1" fmla="*/ 63 h 284"/>
                <a:gd name="T2" fmla="*/ 188 w 282"/>
                <a:gd name="T3" fmla="*/ 183 h 284"/>
                <a:gd name="T4" fmla="*/ 76 w 282"/>
                <a:gd name="T5" fmla="*/ 279 h 284"/>
                <a:gd name="T6" fmla="*/ 4 w 282"/>
                <a:gd name="T7" fmla="*/ 207 h 284"/>
                <a:gd name="T8" fmla="*/ 92 w 282"/>
                <a:gd name="T9" fmla="*/ 103 h 284"/>
                <a:gd name="T10" fmla="*/ 200 w 282"/>
                <a:gd name="T11" fmla="*/ 7 h 284"/>
                <a:gd name="T12" fmla="*/ 280 w 282"/>
                <a:gd name="T13" fmla="*/ 63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" h="284">
                  <a:moveTo>
                    <a:pt x="280" y="63"/>
                  </a:moveTo>
                  <a:cubicBezTo>
                    <a:pt x="282" y="114"/>
                    <a:pt x="217" y="154"/>
                    <a:pt x="188" y="183"/>
                  </a:cubicBezTo>
                  <a:cubicBezTo>
                    <a:pt x="159" y="212"/>
                    <a:pt x="119" y="274"/>
                    <a:pt x="76" y="279"/>
                  </a:cubicBezTo>
                  <a:cubicBezTo>
                    <a:pt x="26" y="284"/>
                    <a:pt x="0" y="249"/>
                    <a:pt x="4" y="207"/>
                  </a:cubicBezTo>
                  <a:cubicBezTo>
                    <a:pt x="8" y="165"/>
                    <a:pt x="66" y="129"/>
                    <a:pt x="92" y="103"/>
                  </a:cubicBezTo>
                  <a:cubicBezTo>
                    <a:pt x="127" y="68"/>
                    <a:pt x="159" y="16"/>
                    <a:pt x="200" y="7"/>
                  </a:cubicBezTo>
                  <a:cubicBezTo>
                    <a:pt x="232" y="0"/>
                    <a:pt x="278" y="15"/>
                    <a:pt x="280" y="6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Freeform 24"/>
            <p:cNvSpPr>
              <a:spLocks/>
            </p:cNvSpPr>
            <p:nvPr/>
          </p:nvSpPr>
          <p:spPr bwMode="auto">
            <a:xfrm>
              <a:off x="5886724" y="3527198"/>
              <a:ext cx="53487" cy="54677"/>
            </a:xfrm>
            <a:custGeom>
              <a:avLst/>
              <a:gdLst>
                <a:gd name="T0" fmla="*/ 278 w 284"/>
                <a:gd name="T1" fmla="*/ 212 h 288"/>
                <a:gd name="T2" fmla="*/ 214 w 284"/>
                <a:gd name="T3" fmla="*/ 288 h 288"/>
                <a:gd name="T4" fmla="*/ 94 w 284"/>
                <a:gd name="T5" fmla="*/ 196 h 288"/>
                <a:gd name="T6" fmla="*/ 2 w 284"/>
                <a:gd name="T7" fmla="*/ 80 h 288"/>
                <a:gd name="T8" fmla="*/ 46 w 284"/>
                <a:gd name="T9" fmla="*/ 16 h 288"/>
                <a:gd name="T10" fmla="*/ 186 w 284"/>
                <a:gd name="T11" fmla="*/ 104 h 288"/>
                <a:gd name="T12" fmla="*/ 278 w 284"/>
                <a:gd name="T13" fmla="*/ 2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288">
                  <a:moveTo>
                    <a:pt x="278" y="212"/>
                  </a:moveTo>
                  <a:cubicBezTo>
                    <a:pt x="284" y="256"/>
                    <a:pt x="256" y="288"/>
                    <a:pt x="214" y="288"/>
                  </a:cubicBezTo>
                  <a:cubicBezTo>
                    <a:pt x="171" y="288"/>
                    <a:pt x="131" y="233"/>
                    <a:pt x="94" y="196"/>
                  </a:cubicBezTo>
                  <a:cubicBezTo>
                    <a:pt x="70" y="172"/>
                    <a:pt x="5" y="132"/>
                    <a:pt x="2" y="80"/>
                  </a:cubicBezTo>
                  <a:cubicBezTo>
                    <a:pt x="0" y="43"/>
                    <a:pt x="24" y="22"/>
                    <a:pt x="46" y="16"/>
                  </a:cubicBezTo>
                  <a:cubicBezTo>
                    <a:pt x="103" y="0"/>
                    <a:pt x="143" y="61"/>
                    <a:pt x="186" y="104"/>
                  </a:cubicBezTo>
                  <a:cubicBezTo>
                    <a:pt x="222" y="140"/>
                    <a:pt x="274" y="183"/>
                    <a:pt x="278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5"/>
            <p:cNvSpPr>
              <a:spLocks/>
            </p:cNvSpPr>
            <p:nvPr/>
          </p:nvSpPr>
          <p:spPr bwMode="auto">
            <a:xfrm>
              <a:off x="5782425" y="3596217"/>
              <a:ext cx="168483" cy="176580"/>
            </a:xfrm>
            <a:custGeom>
              <a:avLst/>
              <a:gdLst>
                <a:gd name="T0" fmla="*/ 688 w 896"/>
                <a:gd name="T1" fmla="*/ 18 h 932"/>
                <a:gd name="T2" fmla="*/ 896 w 896"/>
                <a:gd name="T3" fmla="*/ 82 h 932"/>
                <a:gd name="T4" fmla="*/ 688 w 896"/>
                <a:gd name="T5" fmla="*/ 146 h 932"/>
                <a:gd name="T6" fmla="*/ 416 w 896"/>
                <a:gd name="T7" fmla="*/ 146 h 932"/>
                <a:gd name="T8" fmla="*/ 160 w 896"/>
                <a:gd name="T9" fmla="*/ 330 h 932"/>
                <a:gd name="T10" fmla="*/ 412 w 896"/>
                <a:gd name="T11" fmla="*/ 786 h 932"/>
                <a:gd name="T12" fmla="*/ 684 w 896"/>
                <a:gd name="T13" fmla="*/ 786 h 932"/>
                <a:gd name="T14" fmla="*/ 896 w 896"/>
                <a:gd name="T15" fmla="*/ 850 h 932"/>
                <a:gd name="T16" fmla="*/ 688 w 896"/>
                <a:gd name="T17" fmla="*/ 914 h 932"/>
                <a:gd name="T18" fmla="*/ 416 w 896"/>
                <a:gd name="T19" fmla="*/ 914 h 932"/>
                <a:gd name="T20" fmla="*/ 0 w 896"/>
                <a:gd name="T21" fmla="*/ 510 h 932"/>
                <a:gd name="T22" fmla="*/ 0 w 896"/>
                <a:gd name="T23" fmla="*/ 422 h 932"/>
                <a:gd name="T24" fmla="*/ 416 w 896"/>
                <a:gd name="T25" fmla="*/ 18 h 932"/>
                <a:gd name="T26" fmla="*/ 688 w 896"/>
                <a:gd name="T27" fmla="*/ 18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96" h="932">
                  <a:moveTo>
                    <a:pt x="688" y="18"/>
                  </a:moveTo>
                  <a:cubicBezTo>
                    <a:pt x="781" y="18"/>
                    <a:pt x="896" y="0"/>
                    <a:pt x="896" y="82"/>
                  </a:cubicBezTo>
                  <a:cubicBezTo>
                    <a:pt x="896" y="162"/>
                    <a:pt x="779" y="146"/>
                    <a:pt x="688" y="146"/>
                  </a:cubicBezTo>
                  <a:cubicBezTo>
                    <a:pt x="619" y="146"/>
                    <a:pt x="510" y="137"/>
                    <a:pt x="416" y="146"/>
                  </a:cubicBezTo>
                  <a:cubicBezTo>
                    <a:pt x="292" y="158"/>
                    <a:pt x="202" y="241"/>
                    <a:pt x="160" y="330"/>
                  </a:cubicBezTo>
                  <a:cubicBezTo>
                    <a:pt x="60" y="543"/>
                    <a:pt x="207" y="764"/>
                    <a:pt x="412" y="786"/>
                  </a:cubicBezTo>
                  <a:cubicBezTo>
                    <a:pt x="494" y="795"/>
                    <a:pt x="613" y="786"/>
                    <a:pt x="684" y="786"/>
                  </a:cubicBezTo>
                  <a:cubicBezTo>
                    <a:pt x="770" y="786"/>
                    <a:pt x="896" y="767"/>
                    <a:pt x="896" y="850"/>
                  </a:cubicBezTo>
                  <a:cubicBezTo>
                    <a:pt x="896" y="932"/>
                    <a:pt x="780" y="914"/>
                    <a:pt x="688" y="914"/>
                  </a:cubicBezTo>
                  <a:cubicBezTo>
                    <a:pt x="590" y="914"/>
                    <a:pt x="484" y="919"/>
                    <a:pt x="416" y="914"/>
                  </a:cubicBezTo>
                  <a:cubicBezTo>
                    <a:pt x="175" y="896"/>
                    <a:pt x="40" y="728"/>
                    <a:pt x="0" y="510"/>
                  </a:cubicBezTo>
                  <a:cubicBezTo>
                    <a:pt x="0" y="481"/>
                    <a:pt x="0" y="451"/>
                    <a:pt x="0" y="422"/>
                  </a:cubicBezTo>
                  <a:cubicBezTo>
                    <a:pt x="31" y="206"/>
                    <a:pt x="190" y="34"/>
                    <a:pt x="416" y="18"/>
                  </a:cubicBezTo>
                  <a:cubicBezTo>
                    <a:pt x="495" y="12"/>
                    <a:pt x="590" y="18"/>
                    <a:pt x="688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35883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Custom 1479">
      <a:dk1>
        <a:sysClr val="windowText" lastClr="000000"/>
      </a:dk1>
      <a:lt1>
        <a:sysClr val="window" lastClr="FFFFFF"/>
      </a:lt1>
      <a:dk2>
        <a:srgbClr val="006600"/>
      </a:dk2>
      <a:lt2>
        <a:srgbClr val="F2E500"/>
      </a:lt2>
      <a:accent1>
        <a:srgbClr val="D5D2C3"/>
      </a:accent1>
      <a:accent2>
        <a:srgbClr val="B0A3A7"/>
      </a:accent2>
      <a:accent3>
        <a:srgbClr val="D1E8FA"/>
      </a:accent3>
      <a:accent4>
        <a:srgbClr val="C1DFC4"/>
      </a:accent4>
      <a:accent5>
        <a:srgbClr val="785F4B"/>
      </a:accent5>
      <a:accent6>
        <a:srgbClr val="005886"/>
      </a:accent6>
      <a:hlink>
        <a:srgbClr val="0000FF"/>
      </a:hlink>
      <a:folHlink>
        <a:srgbClr val="800080"/>
      </a:folHlink>
    </a:clrScheme>
    <a:fontScheme name="Expo">
      <a:majorFont>
        <a:latin typeface="Calibri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Calibri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lhub_Master.pot [Kompatibilitetsmodus]" id="{2E14EDB9-C3BB-4829-81A8-733B16FA60A5}" vid="{1D791952-4139-4B7C-88E6-41BA05B86F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36</TotalTime>
  <Words>122</Words>
  <Application>Microsoft Office PowerPoint</Application>
  <PresentationFormat>Egendefinert</PresentationFormat>
  <Paragraphs>22</Paragraphs>
  <Slides>4</Slides>
  <Notes>4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</vt:i4>
      </vt:variant>
    </vt:vector>
  </HeadingPairs>
  <TitlesOfParts>
    <vt:vector size="10" baseType="lpstr">
      <vt:lpstr>ＭＳ Ｐゴシック</vt:lpstr>
      <vt:lpstr>Arial</vt:lpstr>
      <vt:lpstr>Calibri</vt:lpstr>
      <vt:lpstr>Times</vt:lpstr>
      <vt:lpstr>Office-tema</vt:lpstr>
      <vt:lpstr>think-cell Slide</vt:lpstr>
      <vt:lpstr>PowerPoint-presentasjon</vt:lpstr>
      <vt:lpstr>Legislation and other drivers for Norway</vt:lpstr>
      <vt:lpstr>Introducing a datahub (Elhub) i</vt:lpstr>
      <vt:lpstr>Introducing a datahub (Elhub) (ii)</vt:lpstr>
    </vt:vector>
  </TitlesOfParts>
  <Company>Whitepage Ltd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aft Elhub presentation EUW</dc:title>
  <dc:creator>Adrian Preston</dc:creator>
  <cp:lastModifiedBy>Tor Bjarne Heiberg</cp:lastModifiedBy>
  <cp:revision>163</cp:revision>
  <cp:lastPrinted>2015-10-15T09:21:33Z</cp:lastPrinted>
  <dcterms:created xsi:type="dcterms:W3CDTF">2015-09-23T07:42:18Z</dcterms:created>
  <dcterms:modified xsi:type="dcterms:W3CDTF">2016-02-19T15:4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ddo_DocID">
    <vt:lpwstr>be498cc2-e219-4fee-b33e-7375df3c4923</vt:lpwstr>
  </property>
</Properties>
</file>